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3"/>
  </p:notesMasterIdLst>
  <p:handoutMasterIdLst>
    <p:handoutMasterId r:id="rId14"/>
  </p:handoutMasterIdLst>
  <p:sldIdLst>
    <p:sldId id="2147377434" r:id="rId5"/>
    <p:sldId id="2147377425" r:id="rId6"/>
    <p:sldId id="2147377412" r:id="rId7"/>
    <p:sldId id="2147377433" r:id="rId8"/>
    <p:sldId id="2147377423" r:id="rId9"/>
    <p:sldId id="2147377431" r:id="rId10"/>
    <p:sldId id="2147377422" r:id="rId11"/>
    <p:sldId id="2147377389" r:id="rId12"/>
  </p:sldIdLst>
  <p:sldSz cx="12198350" cy="6858000"/>
  <p:notesSz cx="6858000" cy="9144000"/>
  <p:custDataLst>
    <p:tags r:id="rId15"/>
  </p:custDataLst>
  <p:defaultTextStyle>
    <a:defPPr rtl="0">
      <a:defRPr lang="ro-R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DC80A51C-A2EE-94FE-6DC9-FB4D615A9D0D}" name="Gastbenutzer" initials="Ga" userId="S::urn:spo:anon#c1c7deccded2dbae37f59659df8a1d1dc8834aa7b157d25386c5b6c6c78944cb::" providerId="AD"/>
  <p188:author id="{1A9EB531-1073-46D4-A266-E39953509C9F}" name="Gastbenutzer" initials="Ga" userId="S::urn:spo:anon#db54c4650be3282601b98667e2696afce53f5179360cdedf7162d9f91a6461f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3" name="Autor" initials="A" lastIdx="35" clrIdx="12"/>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9FDF"/>
    <a:srgbClr val="565656"/>
    <a:srgbClr val="000000"/>
    <a:srgbClr val="D4E5BB"/>
    <a:srgbClr val="BEC2CD"/>
    <a:srgbClr val="CAD7E3"/>
    <a:srgbClr val="48762C"/>
    <a:srgbClr val="32521E"/>
    <a:srgbClr val="D1DF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B5EAE8-3D48-2D73-C9FA-A2291B2715C8}" v="105" dt="2023-11-06T15:58:35.879"/>
    <p1510:client id="{9D1BC172-0EAD-6968-C181-436101082AB7}" v="35" dt="2023-11-06T07:54:29.632"/>
    <p1510:client id="{3B201212-8717-4CA6-AFFE-B85CC845040B}" v="27" dt="2023-11-06T10:57:57.114"/>
  </p1510:revLst>
</p1510:revInfo>
</file>

<file path=ppt/tableStyles.xml><?xml version="1.0" encoding="utf-8"?>
<a:tblStyleLst xmlns:a="http://schemas.openxmlformats.org/drawingml/2006/main" def="{5DA37D80-6434-44D0-A028-1B22A696006F}">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4"/>
    <p:restoredTop sz="94652"/>
  </p:normalViewPr>
  <p:slideViewPr>
    <p:cSldViewPr snapToGrid="0">
      <p:cViewPr varScale="1">
        <p:scale>
          <a:sx n="133" d="100"/>
          <a:sy n="133" d="100"/>
        </p:scale>
        <p:origin x="1400" y="19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BE0EB3F-0824-4CAB-8FAD-A38336B658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a:p>
        </p:txBody>
      </p:sp>
      <p:sp>
        <p:nvSpPr>
          <p:cNvPr id="3" name="Datumsplatzhalter 2">
            <a:extLst>
              <a:ext uri="{FF2B5EF4-FFF2-40B4-BE49-F238E27FC236}">
                <a16:creationId xmlns:a16="http://schemas.microsoft.com/office/drawing/2014/main" id="{7A0017BE-1D52-4CD5-AE00-A5C83B6AF07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E24FF582-27E0-4C6D-81F0-64140543C51C}" type="datetimeFigureOut">
              <a:rPr lang="de-DE" smtClean="0"/>
              <a:t>06.02.24</a:t>
            </a:fld>
            <a:endParaRPr lang="de-DE"/>
          </a:p>
        </p:txBody>
      </p:sp>
      <p:sp>
        <p:nvSpPr>
          <p:cNvPr id="4" name="Fußzeilenplatzhalter 3">
            <a:extLst>
              <a:ext uri="{FF2B5EF4-FFF2-40B4-BE49-F238E27FC236}">
                <a16:creationId xmlns:a16="http://schemas.microsoft.com/office/drawing/2014/main" id="{1069B6E8-D112-4533-B534-EBB27CDDAB4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a:p>
        </p:txBody>
      </p:sp>
      <p:sp>
        <p:nvSpPr>
          <p:cNvPr id="5" name="Foliennummernplatzhalter 4">
            <a:extLst>
              <a:ext uri="{FF2B5EF4-FFF2-40B4-BE49-F238E27FC236}">
                <a16:creationId xmlns:a16="http://schemas.microsoft.com/office/drawing/2014/main" id="{89FE24B1-30D7-4087-92DF-8FD55E81FC3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9CCB011-1079-496D-AA0E-A31E25E65FB9}" type="slidenum">
              <a:rPr lang="de-DE" smtClean="0"/>
              <a:t>‹nr.›</a:t>
            </a:fld>
            <a:endParaRPr lang="de-DE"/>
          </a:p>
        </p:txBody>
      </p:sp>
    </p:spTree>
    <p:extLst>
      <p:ext uri="{BB962C8B-B14F-4D97-AF65-F5344CB8AC3E}">
        <p14:creationId xmlns:p14="http://schemas.microsoft.com/office/powerpoint/2010/main" val="73970648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pPr rtl="0"/>
            <a:endParaRPr lang="de-DE"/>
          </a:p>
        </p:txBody>
      </p:sp>
      <p:sp>
        <p:nvSpPr>
          <p:cNvPr id="5" name="Notizenplatzhalter 4"/>
          <p:cNvSpPr>
            <a:spLocks noGrp="1"/>
          </p:cNvSpPr>
          <p:nvPr>
            <p:ph type="body" sz="quarter" idx="3"/>
          </p:nvPr>
        </p:nvSpPr>
        <p:spPr>
          <a:xfrm>
            <a:off x="411480" y="4343400"/>
            <a:ext cx="6035040" cy="4114800"/>
          </a:xfrm>
          <a:prstGeom prst="rect">
            <a:avLst/>
          </a:prstGeom>
        </p:spPr>
        <p:txBody>
          <a:bodyPr vert="horz" lIns="0" tIns="0" rIns="0" bIns="0" rtlCol="0"/>
          <a:lstStyle/>
          <a:p>
            <a:pPr lvl="0" rtl="0"/>
            <a:r>
              <a:rPr lang="ro"/>
              <a:t>Textmasterformat bearbeiten</a:t>
            </a:r>
          </a:p>
          <a:p>
            <a:pPr lvl="1" rtl="0"/>
            <a:r>
              <a:rPr lang="ro"/>
              <a:t>Zweite Ebene</a:t>
            </a:r>
          </a:p>
          <a:p>
            <a:pPr lvl="2" rtl="0"/>
            <a:r>
              <a:rPr lang="ro"/>
              <a:t>Dritte Ebene</a:t>
            </a:r>
          </a:p>
          <a:p>
            <a:pPr lvl="3" rtl="0"/>
            <a:r>
              <a:rPr lang="ro"/>
              <a:t>Vierte Ebene</a:t>
            </a:r>
          </a:p>
          <a:p>
            <a:pPr lvl="4" rtl="0"/>
            <a:r>
              <a:rPr lang="ro"/>
              <a:t>Fünfte Ebene</a:t>
            </a:r>
          </a:p>
        </p:txBody>
      </p:sp>
    </p:spTree>
    <p:extLst>
      <p:ext uri="{BB962C8B-B14F-4D97-AF65-F5344CB8AC3E}">
        <p14:creationId xmlns:p14="http://schemas.microsoft.com/office/powerpoint/2010/main" val="2172727241"/>
      </p:ext>
    </p:extLst>
  </p:cSld>
  <p:clrMap bg1="lt1" tx1="dk1" bg2="lt2" tx2="dk2" accent1="accent1" accent2="accent2" accent3="accent3" accent4="accent4" accent5="accent5" accent6="accent6" hlink="hlink" folHlink="folHlink"/>
  <p:hf sldNum="0" hdr="0" ftr="0" dt="0"/>
  <p:notesStyle>
    <a:lvl1pPr marL="180975" indent="-180975" algn="l" defTabSz="914400" rtl="0" eaLnBrk="1" latinLnBrk="0" hangingPunct="1">
      <a:buClr>
        <a:srgbClr val="00A5E4"/>
      </a:buClr>
      <a:buSzPct val="100000"/>
      <a:buFont typeface="Arial" panose="020B0604020202020204" pitchFamily="34" charset="0"/>
      <a:buChar char="•"/>
      <a:defRPr sz="1200" kern="1200">
        <a:solidFill>
          <a:schemeClr val="tx1"/>
        </a:solidFill>
        <a:latin typeface="+mn-lt"/>
        <a:ea typeface="+mn-ea"/>
        <a:cs typeface="+mn-cs"/>
      </a:defRPr>
    </a:lvl1pPr>
    <a:lvl2pPr marL="358775" indent="-177800"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2pPr>
    <a:lvl3pPr marL="539750" indent="-180975"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3pPr>
    <a:lvl4pPr marL="717550" indent="-177800"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4pPr>
    <a:lvl5pPr marL="898525" indent="-180975"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NUL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NUL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NULL"/><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NULL"/><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NULL"/><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NULL"/><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NUL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NULL"/><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NULL"/><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NULL"/><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NULL"/><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NULL"/><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1.xml"/><Relationship Id="rId7" Type="http://schemas.openxmlformats.org/officeDocument/2006/relationships/image" Target="../media/image3.png"/><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NULL"/><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NUL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3.xml"/><Relationship Id="rId7" Type="http://schemas.openxmlformats.org/officeDocument/2006/relationships/image" Target="../media/image3.png"/><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NULL"/><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5.xml"/><Relationship Id="rId7" Type="http://schemas.openxmlformats.org/officeDocument/2006/relationships/image" Target="../media/image3.png"/><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NULL"/><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NULL"/><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9.xml"/><Relationship Id="rId7" Type="http://schemas.openxmlformats.org/officeDocument/2006/relationships/image" Target="../media/image3.png"/><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NULL"/><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1.xml"/><Relationship Id="rId7" Type="http://schemas.openxmlformats.org/officeDocument/2006/relationships/image" Target="../media/image3.png"/><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NULL"/><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3.xml"/><Relationship Id="rId7" Type="http://schemas.openxmlformats.org/officeDocument/2006/relationships/image" Target="../media/image3.png"/><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image" Target="NULL"/><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5.xml"/><Relationship Id="rId7" Type="http://schemas.openxmlformats.org/officeDocument/2006/relationships/image" Target="../media/image3.png"/><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image" Target="NULL"/><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7.xml"/><Relationship Id="rId7" Type="http://schemas.openxmlformats.org/officeDocument/2006/relationships/image" Target="../media/image3.png"/><Relationship Id="rId2" Type="http://schemas.openxmlformats.org/officeDocument/2006/relationships/tags" Target="../tags/tag96.xml"/><Relationship Id="rId1" Type="http://schemas.openxmlformats.org/officeDocument/2006/relationships/vmlDrawing" Target="../drawings/vmlDrawing48.vml"/><Relationship Id="rId6" Type="http://schemas.openxmlformats.org/officeDocument/2006/relationships/image" Target="NULL"/><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image" Target="NULL"/><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01.xml"/><Relationship Id="rId7" Type="http://schemas.openxmlformats.org/officeDocument/2006/relationships/image" Target="../media/image3.png"/><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NULL"/><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NUL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03.xml"/><Relationship Id="rId7" Type="http://schemas.openxmlformats.org/officeDocument/2006/relationships/image" Target="../media/image3.png"/><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image" Target="NULL"/><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image" Target="NULL"/><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3.vml"/><Relationship Id="rId6" Type="http://schemas.openxmlformats.org/officeDocument/2006/relationships/image" Target="NULL"/><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image" Target="NULL"/><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s://de.pinterest.com/tesaDIY" TargetMode="External"/><Relationship Id="rId3" Type="http://schemas.openxmlformats.org/officeDocument/2006/relationships/tags" Target="../tags/tag111.xml"/><Relationship Id="rId7" Type="http://schemas.openxmlformats.org/officeDocument/2006/relationships/hyperlink" Target="http://www.tesa.com/" TargetMode="External"/><Relationship Id="rId12" Type="http://schemas.openxmlformats.org/officeDocument/2006/relationships/hyperlink" Target="https://www.linkedin.com/company/tesa" TargetMode="External"/><Relationship Id="rId2" Type="http://schemas.openxmlformats.org/officeDocument/2006/relationships/tags" Target="../tags/tag110.xml"/><Relationship Id="rId1" Type="http://schemas.openxmlformats.org/officeDocument/2006/relationships/vmlDrawing" Target="../drawings/vmlDrawing55.vml"/><Relationship Id="rId6" Type="http://schemas.openxmlformats.org/officeDocument/2006/relationships/image" Target="../media/image1.emf"/><Relationship Id="rId11" Type="http://schemas.openxmlformats.org/officeDocument/2006/relationships/hyperlink" Target="https://www.youtube.com/channel/UCxE8yjhhxL95tfua3bAH6yg" TargetMode="External"/><Relationship Id="rId5" Type="http://schemas.openxmlformats.org/officeDocument/2006/relationships/oleObject" Target="../embeddings/oleObject55.bin"/><Relationship Id="rId10" Type="http://schemas.openxmlformats.org/officeDocument/2006/relationships/hyperlink" Target="https://twitter.com/tesa_press" TargetMode="External"/><Relationship Id="rId4" Type="http://schemas.openxmlformats.org/officeDocument/2006/relationships/slideMaster" Target="../slideMasters/slideMaster1.xml"/><Relationship Id="rId9" Type="http://schemas.openxmlformats.org/officeDocument/2006/relationships/hyperlink" Target="https://www.facebook.com/tesa.international" TargetMode="Externa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s://www.linkedin.com/company/tesa" TargetMode="External"/><Relationship Id="rId3" Type="http://schemas.openxmlformats.org/officeDocument/2006/relationships/tags" Target="../tags/tag113.xml"/><Relationship Id="rId7" Type="http://schemas.openxmlformats.org/officeDocument/2006/relationships/hyperlink" Target="http://www.tesa.cn/" TargetMode="External"/><Relationship Id="rId2" Type="http://schemas.openxmlformats.org/officeDocument/2006/relationships/tags" Target="../tags/tag112.xml"/><Relationship Id="rId1" Type="http://schemas.openxmlformats.org/officeDocument/2006/relationships/vmlDrawing" Target="../drawings/vmlDrawing56.vml"/><Relationship Id="rId6" Type="http://schemas.openxmlformats.org/officeDocument/2006/relationships/image" Target="NULL"/><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57.vml"/><Relationship Id="rId6" Type="http://schemas.openxmlformats.org/officeDocument/2006/relationships/image" Target="NULL"/><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5.png"/><Relationship Id="rId2" Type="http://schemas.openxmlformats.org/officeDocument/2006/relationships/tags" Target="../tags/tag116.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NUL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NUL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NULL"/><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taped headlin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67397059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05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33FD47ED-D33F-5C49-3048-C9AC454A48F6}"/>
              </a:ext>
            </a:extLst>
          </p:cNvPr>
          <p:cNvSpPr>
            <a:spLocks noGrp="1"/>
          </p:cNvSpPr>
          <p:nvPr>
            <p:ph type="pic" sz="quarter" idx="14" hasCustomPrompt="1"/>
          </p:nvPr>
        </p:nvSpPr>
        <p:spPr>
          <a:xfrm>
            <a:off x="0" y="1"/>
            <a:ext cx="12198350" cy="6354763"/>
          </a:xfrm>
          <a:custGeom>
            <a:avLst/>
            <a:gdLst>
              <a:gd name="connsiteX0" fmla="*/ 10215479 w 12198350"/>
              <a:gd name="connsiteY0" fmla="*/ 263197 h 6354763"/>
              <a:gd name="connsiteX1" fmla="*/ 10215479 w 12198350"/>
              <a:gd name="connsiteY1" fmla="*/ 792687 h 6354763"/>
              <a:gd name="connsiteX2" fmla="*/ 11933140 w 12198350"/>
              <a:gd name="connsiteY2" fmla="*/ 792687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215479" y="263197"/>
                </a:moveTo>
                <a:lnTo>
                  <a:pt x="10215479" y="792687"/>
                </a:lnTo>
                <a:lnTo>
                  <a:pt x="11933140" y="792687"/>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a:lvl1pPr>
          </a:lstStyle>
          <a:p>
            <a:pPr rtl="0"/>
            <a:r>
              <a:rPr lang="ro"/>
              <a:t>Please insert an image</a:t>
            </a:r>
            <a:br>
              <a:rPr lang="en-US"/>
            </a:br>
            <a:br>
              <a:rPr lang="en-US"/>
            </a:br>
            <a:br>
              <a:rPr lang="en-US"/>
            </a:br>
            <a:br>
              <a:rPr lang="en-US"/>
            </a:br>
            <a:endParaRPr lang="en-US"/>
          </a:p>
        </p:txBody>
      </p:sp>
      <p:sp>
        <p:nvSpPr>
          <p:cNvPr id="6" name="Textplatzhalter 5"/>
          <p:cNvSpPr>
            <a:spLocks noGrp="1"/>
          </p:cNvSpPr>
          <p:nvPr>
            <p:ph type="body" sz="quarter" idx="13" hasCustomPrompt="1"/>
          </p:nvPr>
        </p:nvSpPr>
        <p:spPr>
          <a:xfrm>
            <a:off x="519113" y="5884669"/>
            <a:ext cx="11414027" cy="246221"/>
          </a:xfrm>
        </p:spPr>
        <p:txBody>
          <a:bodyPr rtlCol="0">
            <a:noAutofit/>
          </a:bodyPr>
          <a:lstStyle>
            <a:lvl1pPr marL="0" indent="0" rtl="0">
              <a:buNone/>
              <a:defRPr sz="1600" baseline="0">
                <a:solidFill>
                  <a:schemeClr val="bg1"/>
                </a:solidFill>
              </a:defRPr>
            </a:lvl1pPr>
          </a:lstStyle>
          <a:p>
            <a:pPr lvl="0" rtl="0"/>
            <a:r>
              <a:rPr lang="ro"/>
              <a:t>Subheading, Arial Regular 16 pt</a:t>
            </a:r>
          </a:p>
        </p:txBody>
      </p:sp>
      <p:sp>
        <p:nvSpPr>
          <p:cNvPr id="4" name="Textplatzhalter 3"/>
          <p:cNvSpPr>
            <a:spLocks noGrp="1"/>
          </p:cNvSpPr>
          <p:nvPr>
            <p:ph type="body" sz="quarter" idx="10" hasCustomPrompt="1"/>
          </p:nvPr>
        </p:nvSpPr>
        <p:spPr>
          <a:xfrm>
            <a:off x="519113" y="5053420"/>
            <a:ext cx="8385217" cy="599001"/>
          </a:xfrm>
          <a:solidFill>
            <a:schemeClr val="accent5"/>
          </a:solidFill>
        </p:spPr>
        <p:txBody>
          <a:bodyPr wrap="none" lIns="108000" tIns="36000" rIns="108000" bIns="36000" rtlCol="0" anchor="b">
            <a:spAutoFit/>
          </a:bodyPr>
          <a:lstStyle>
            <a:lvl1pPr marL="0" indent="0" rtl="0">
              <a:lnSpc>
                <a:spcPct val="95000"/>
              </a:lnSpc>
              <a:buNone/>
              <a:defRPr sz="3600" b="0" cap="none" baseline="0">
                <a:solidFill>
                  <a:schemeClr val="bg1"/>
                </a:solidFill>
                <a:latin typeface="+mj-lt"/>
              </a:defRPr>
            </a:lvl1pPr>
          </a:lstStyle>
          <a:p>
            <a:pPr rtl="0">
              <a:lnSpc>
                <a:spcPct val="95000"/>
              </a:lnSpc>
            </a:pPr>
            <a:r>
              <a:rPr lang="ro"/>
              <a:t>Title slide with taped headline, Arial Narrow 36 pt</a:t>
            </a:r>
            <a:endParaRPr lang="en-US"/>
          </a:p>
        </p:txBody>
      </p:sp>
      <p:grpSp>
        <p:nvGrpSpPr>
          <p:cNvPr id="54" name="Gruppieren 53">
            <a:extLst>
              <a:ext uri="{FF2B5EF4-FFF2-40B4-BE49-F238E27FC236}">
                <a16:creationId xmlns:a16="http://schemas.microsoft.com/office/drawing/2014/main" id="{A2D76B4F-B453-4AD2-96C5-A617375BB8CE}"/>
              </a:ext>
            </a:extLst>
          </p:cNvPr>
          <p:cNvGrpSpPr>
            <a:grpSpLocks/>
          </p:cNvGrpSpPr>
          <p:nvPr userDrawn="1"/>
        </p:nvGrpSpPr>
        <p:grpSpPr>
          <a:xfrm>
            <a:off x="10215479" y="263197"/>
            <a:ext cx="1717661" cy="529490"/>
            <a:chOff x="7241394" y="191294"/>
            <a:chExt cx="1717661" cy="529490"/>
          </a:xfrm>
        </p:grpSpPr>
        <p:sp>
          <p:nvSpPr>
            <p:cNvPr id="55" name="Rectangle 1069">
              <a:extLst>
                <a:ext uri="{FF2B5EF4-FFF2-40B4-BE49-F238E27FC236}">
                  <a16:creationId xmlns:a16="http://schemas.microsoft.com/office/drawing/2014/main" id="{77406A79-67EA-4712-AB12-F8A3854A83F1}"/>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56" name="AutoShape 4">
              <a:extLst>
                <a:ext uri="{FF2B5EF4-FFF2-40B4-BE49-F238E27FC236}">
                  <a16:creationId xmlns:a16="http://schemas.microsoft.com/office/drawing/2014/main" id="{317B0D42-B4C7-4308-AFB3-4310F4E2E06E}"/>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noProof="0"/>
            </a:p>
          </p:txBody>
        </p:sp>
        <p:sp>
          <p:nvSpPr>
            <p:cNvPr id="57" name="Freeform 6">
              <a:extLst>
                <a:ext uri="{FF2B5EF4-FFF2-40B4-BE49-F238E27FC236}">
                  <a16:creationId xmlns:a16="http://schemas.microsoft.com/office/drawing/2014/main" id="{57A0D84F-9200-4AC6-A2B8-F8A44DC707A6}"/>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noProof="0"/>
            </a:p>
          </p:txBody>
        </p:sp>
        <p:sp>
          <p:nvSpPr>
            <p:cNvPr id="58" name="Freeform 7">
              <a:extLst>
                <a:ext uri="{FF2B5EF4-FFF2-40B4-BE49-F238E27FC236}">
                  <a16:creationId xmlns:a16="http://schemas.microsoft.com/office/drawing/2014/main" id="{AEEEED60-B5C4-4BB7-AE7B-B93F5E548B52}"/>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noProof="0"/>
            </a:p>
          </p:txBody>
        </p:sp>
        <p:sp>
          <p:nvSpPr>
            <p:cNvPr id="59" name="Freeform 8">
              <a:extLst>
                <a:ext uri="{FF2B5EF4-FFF2-40B4-BE49-F238E27FC236}">
                  <a16:creationId xmlns:a16="http://schemas.microsoft.com/office/drawing/2014/main" id="{B7BE1049-AAD1-4AA1-B68D-FFCC6CCB59D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noProof="0"/>
            </a:p>
          </p:txBody>
        </p:sp>
        <p:sp>
          <p:nvSpPr>
            <p:cNvPr id="60" name="Freeform 9">
              <a:extLst>
                <a:ext uri="{FF2B5EF4-FFF2-40B4-BE49-F238E27FC236}">
                  <a16:creationId xmlns:a16="http://schemas.microsoft.com/office/drawing/2014/main" id="{ABB86660-6993-40AB-B11C-F5D2BCE8CD5A}"/>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noProof="0"/>
            </a:p>
          </p:txBody>
        </p:sp>
        <p:sp>
          <p:nvSpPr>
            <p:cNvPr id="61" name="Freeform 10">
              <a:extLst>
                <a:ext uri="{FF2B5EF4-FFF2-40B4-BE49-F238E27FC236}">
                  <a16:creationId xmlns:a16="http://schemas.microsoft.com/office/drawing/2014/main" id="{A3AB8BF3-FCC7-4CFC-95F3-D21B97B07197}"/>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noProof="0"/>
            </a:p>
          </p:txBody>
        </p:sp>
        <p:sp>
          <p:nvSpPr>
            <p:cNvPr id="62" name="Freeform 11">
              <a:extLst>
                <a:ext uri="{FF2B5EF4-FFF2-40B4-BE49-F238E27FC236}">
                  <a16:creationId xmlns:a16="http://schemas.microsoft.com/office/drawing/2014/main" id="{3FF7A0FB-60A6-41A8-B91F-A0A6619838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noProof="0"/>
            </a:p>
          </p:txBody>
        </p:sp>
      </p:grpSp>
      <p:sp>
        <p:nvSpPr>
          <p:cNvPr id="65" name="AutoShape 4">
            <a:extLst>
              <a:ext uri="{FF2B5EF4-FFF2-40B4-BE49-F238E27FC236}">
                <a16:creationId xmlns:a16="http://schemas.microsoft.com/office/drawing/2014/main" id="{51B3BA47-4FE8-4AE6-9440-41D3D1DEB463}"/>
              </a:ext>
            </a:extLst>
          </p:cNvPr>
          <p:cNvSpPr>
            <a:spLocks noChangeAspect="1"/>
          </p:cNvSpPr>
          <p:nvPr userDrawn="1"/>
        </p:nvSpPr>
        <p:spPr bwMode="auto">
          <a:xfrm>
            <a:off x="10008891" y="1882470"/>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3" name="Rechteck 2">
            <a:extLst>
              <a:ext uri="{FF2B5EF4-FFF2-40B4-BE49-F238E27FC236}">
                <a16:creationId xmlns:a16="http://schemas.microsoft.com/office/drawing/2014/main" id="{5F45F639-8D0A-7BF2-E50B-C570F6CA62F0}"/>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 name="Rechteck 4">
            <a:extLst>
              <a:ext uri="{FF2B5EF4-FFF2-40B4-BE49-F238E27FC236}">
                <a16:creationId xmlns:a16="http://schemas.microsoft.com/office/drawing/2014/main" id="{C63625CE-CAB7-552A-E40C-6EB39B5A5FA2}"/>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044464541"/>
      </p:ext>
    </p:extLst>
  </p:cSld>
  <p:clrMapOvr>
    <a:masterClrMapping/>
  </p:clrMapOvr>
  <p:extLst>
    <p:ext uri="{DCECCB84-F9BA-43D5-87BE-67443E8EF086}">
      <p15:sldGuideLst xmlns:p15="http://schemas.microsoft.com/office/powerpoint/2012/main">
        <p15:guide id="1" pos="32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slide with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62145320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127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 name="Textplatzhalter 3"/>
          <p:cNvSpPr>
            <a:spLocks noGrp="1"/>
          </p:cNvSpPr>
          <p:nvPr userDrawn="1">
            <p:ph type="body" sz="quarter" idx="10" hasCustomPrompt="1"/>
          </p:nvPr>
        </p:nvSpPr>
        <p:spPr>
          <a:xfrm>
            <a:off x="7683500" y="3239833"/>
            <a:ext cx="2444681"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ro" noProof="0"/>
              <a:t>Chapter slide</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 name="Bildplatzhalter 4">
            <a:extLst>
              <a:ext uri="{FF2B5EF4-FFF2-40B4-BE49-F238E27FC236}">
                <a16:creationId xmlns:a16="http://schemas.microsoft.com/office/drawing/2014/main" id="{28506256-9BB1-4254-951B-86A87B1D02E3}"/>
              </a:ext>
            </a:extLst>
          </p:cNvPr>
          <p:cNvSpPr>
            <a:spLocks noGrp="1"/>
          </p:cNvSpPr>
          <p:nvPr>
            <p:ph type="pic" sz="quarter" idx="11" hasCustomPrompt="1"/>
          </p:nvPr>
        </p:nvSpPr>
        <p:spPr>
          <a:xfrm>
            <a:off x="0" y="0"/>
            <a:ext cx="7172538" cy="6343650"/>
          </a:xfrm>
          <a:solidFill>
            <a:schemeClr val="bg2"/>
          </a:solidFill>
        </p:spPr>
        <p:txBody>
          <a:bodyPr rtlCol="0" anchor="ct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59" name="Textplatzhalter 3">
            <a:extLst>
              <a:ext uri="{FF2B5EF4-FFF2-40B4-BE49-F238E27FC236}">
                <a16:creationId xmlns:a16="http://schemas.microsoft.com/office/drawing/2014/main" id="{4C9774D5-C979-4A09-A268-DE6418EAECB8}"/>
              </a:ext>
            </a:extLst>
          </p:cNvPr>
          <p:cNvSpPr>
            <a:spLocks noGrp="1"/>
          </p:cNvSpPr>
          <p:nvPr>
            <p:ph type="body" sz="quarter" idx="12" hasCustomPrompt="1"/>
          </p:nvPr>
        </p:nvSpPr>
        <p:spPr>
          <a:xfrm>
            <a:off x="7683500" y="3938534"/>
            <a:ext cx="2847034"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ro" noProof="0"/>
              <a:t>with picture left,</a:t>
            </a:r>
          </a:p>
        </p:txBody>
      </p:sp>
      <p:sp>
        <p:nvSpPr>
          <p:cNvPr id="61" name="Textplatzhalter 3">
            <a:extLst>
              <a:ext uri="{FF2B5EF4-FFF2-40B4-BE49-F238E27FC236}">
                <a16:creationId xmlns:a16="http://schemas.microsoft.com/office/drawing/2014/main" id="{2C21A9D6-9E75-45E9-94DB-6D518C5AD9B7}"/>
              </a:ext>
            </a:extLst>
          </p:cNvPr>
          <p:cNvSpPr>
            <a:spLocks noGrp="1"/>
          </p:cNvSpPr>
          <p:nvPr>
            <p:ph type="body" sz="quarter" idx="13" hasCustomPrompt="1"/>
          </p:nvPr>
        </p:nvSpPr>
        <p:spPr>
          <a:xfrm>
            <a:off x="7683500" y="4637235"/>
            <a:ext cx="324618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ro" noProof="0"/>
              <a:t>Arial Narrow 36 pt</a:t>
            </a:r>
            <a:endParaRPr lang="en-GB" noProof="0"/>
          </a:p>
        </p:txBody>
      </p:sp>
    </p:spTree>
    <p:custDataLst>
      <p:tags r:id="rId2"/>
    </p:custDataLst>
    <p:extLst>
      <p:ext uri="{BB962C8B-B14F-4D97-AF65-F5344CB8AC3E}">
        <p14:creationId xmlns:p14="http://schemas.microsoft.com/office/powerpoint/2010/main" val="1811212643"/>
      </p:ext>
    </p:extLst>
  </p:cSld>
  <p:clrMapOvr>
    <a:masterClrMapping/>
  </p:clrMapOvr>
  <p:extLst>
    <p:ext uri="{DCECCB84-F9BA-43D5-87BE-67443E8EF086}">
      <p15:sldGuideLst xmlns:p15="http://schemas.microsoft.com/office/powerpoint/2012/main">
        <p15:guide id="1" pos="4840">
          <p15:clr>
            <a:srgbClr val="FBAE40"/>
          </p15:clr>
        </p15:guide>
        <p15:guide id="2" orient="horz" pos="204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slide with picture righ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595997839"/>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229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70" name="Bildplatzhalter 69">
            <a:extLst>
              <a:ext uri="{FF2B5EF4-FFF2-40B4-BE49-F238E27FC236}">
                <a16:creationId xmlns:a16="http://schemas.microsoft.com/office/drawing/2014/main" id="{DF17127A-8AA8-462D-B96D-84CF2C01F662}"/>
              </a:ext>
            </a:extLst>
          </p:cNvPr>
          <p:cNvSpPr>
            <a:spLocks noGrp="1"/>
          </p:cNvSpPr>
          <p:nvPr>
            <p:ph type="pic" sz="quarter" idx="11" hasCustomPrompt="1"/>
          </p:nvPr>
        </p:nvSpPr>
        <p:spPr>
          <a:xfrm>
            <a:off x="5024261" y="0"/>
            <a:ext cx="7172538" cy="6343650"/>
          </a:xfrm>
          <a:custGeom>
            <a:avLst/>
            <a:gdLst>
              <a:gd name="connsiteX0" fmla="*/ 5191218 w 7172538"/>
              <a:gd name="connsiteY0" fmla="*/ 263197 h 6343650"/>
              <a:gd name="connsiteX1" fmla="*/ 5191218 w 7172538"/>
              <a:gd name="connsiteY1" fmla="*/ 792687 h 6343650"/>
              <a:gd name="connsiteX2" fmla="*/ 6908879 w 7172538"/>
              <a:gd name="connsiteY2" fmla="*/ 792687 h 6343650"/>
              <a:gd name="connsiteX3" fmla="*/ 6908879 w 7172538"/>
              <a:gd name="connsiteY3" fmla="*/ 263197 h 6343650"/>
              <a:gd name="connsiteX4" fmla="*/ 0 w 7172538"/>
              <a:gd name="connsiteY4" fmla="*/ 0 h 6343650"/>
              <a:gd name="connsiteX5" fmla="*/ 7172538 w 7172538"/>
              <a:gd name="connsiteY5" fmla="*/ 0 h 6343650"/>
              <a:gd name="connsiteX6" fmla="*/ 7172538 w 7172538"/>
              <a:gd name="connsiteY6" fmla="*/ 6343650 h 6343650"/>
              <a:gd name="connsiteX7" fmla="*/ 0 w 7172538"/>
              <a:gd name="connsiteY7"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2538" h="6343650">
                <a:moveTo>
                  <a:pt x="5191218" y="263197"/>
                </a:moveTo>
                <a:lnTo>
                  <a:pt x="5191218" y="792687"/>
                </a:lnTo>
                <a:lnTo>
                  <a:pt x="6908879" y="792687"/>
                </a:lnTo>
                <a:lnTo>
                  <a:pt x="6908879" y="263197"/>
                </a:lnTo>
                <a:close/>
                <a:moveTo>
                  <a:pt x="0" y="0"/>
                </a:moveTo>
                <a:lnTo>
                  <a:pt x="7172538" y="0"/>
                </a:lnTo>
                <a:lnTo>
                  <a:pt x="7172538" y="6343650"/>
                </a:lnTo>
                <a:lnTo>
                  <a:pt x="0" y="6343650"/>
                </a:lnTo>
                <a:close/>
              </a:path>
            </a:pathLst>
          </a:custGeom>
          <a:solidFill>
            <a:schemeClr val="bg2"/>
          </a:solidFill>
        </p:spPr>
        <p:txBody>
          <a:bodyPr wrap="square" rtlCol="0" anchor="ctr">
            <a:noAutofit/>
          </a:bodyP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4" name="Textplatzhalter 3"/>
          <p:cNvSpPr>
            <a:spLocks noGrp="1"/>
          </p:cNvSpPr>
          <p:nvPr userDrawn="1">
            <p:ph type="body" sz="quarter" idx="10" hasCustomPrompt="1"/>
          </p:nvPr>
        </p:nvSpPr>
        <p:spPr>
          <a:xfrm>
            <a:off x="519114" y="3249613"/>
            <a:ext cx="2444681"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ro" noProof="0"/>
              <a:t>Chapter slide</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63" name="AutoShape 4">
            <a:extLst>
              <a:ext uri="{FF2B5EF4-FFF2-40B4-BE49-F238E27FC236}">
                <a16:creationId xmlns:a16="http://schemas.microsoft.com/office/drawing/2014/main" id="{C61057D3-0CE5-4988-9DAB-FD7F8ACF02D8}"/>
              </a:ext>
            </a:extLst>
          </p:cNvPr>
          <p:cNvSpPr>
            <a:spLocks noChangeAspect="1" noChangeArrowheads="1" noTextEdit="1"/>
          </p:cNvSpPr>
          <p:nvPr/>
        </p:nvSpPr>
        <p:spPr bwMode="auto">
          <a:xfrm>
            <a:off x="10253602" y="1191509"/>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1" name="Textplatzhalter 3">
            <a:extLst>
              <a:ext uri="{FF2B5EF4-FFF2-40B4-BE49-F238E27FC236}">
                <a16:creationId xmlns:a16="http://schemas.microsoft.com/office/drawing/2014/main" id="{F6042C6F-E208-4A6E-8DF6-E59F83773764}"/>
              </a:ext>
            </a:extLst>
          </p:cNvPr>
          <p:cNvSpPr>
            <a:spLocks noGrp="1"/>
          </p:cNvSpPr>
          <p:nvPr>
            <p:ph type="body" sz="quarter" idx="12" hasCustomPrompt="1"/>
          </p:nvPr>
        </p:nvSpPr>
        <p:spPr>
          <a:xfrm>
            <a:off x="519114" y="3948314"/>
            <a:ext cx="3077867"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ro" noProof="0"/>
              <a:t>with picture right,</a:t>
            </a:r>
          </a:p>
        </p:txBody>
      </p:sp>
      <p:sp>
        <p:nvSpPr>
          <p:cNvPr id="72" name="Textplatzhalter 3">
            <a:extLst>
              <a:ext uri="{FF2B5EF4-FFF2-40B4-BE49-F238E27FC236}">
                <a16:creationId xmlns:a16="http://schemas.microsoft.com/office/drawing/2014/main" id="{E9523CF2-ECB7-4E80-BFDF-D7996244C039}"/>
              </a:ext>
            </a:extLst>
          </p:cNvPr>
          <p:cNvSpPr>
            <a:spLocks noGrp="1"/>
          </p:cNvSpPr>
          <p:nvPr>
            <p:ph type="body" sz="quarter" idx="13" hasCustomPrompt="1"/>
          </p:nvPr>
        </p:nvSpPr>
        <p:spPr>
          <a:xfrm>
            <a:off x="519114" y="4647015"/>
            <a:ext cx="324618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ro" noProof="0"/>
              <a:t>Arial Narrow 36 pt</a:t>
            </a:r>
            <a:endParaRPr lang="en-GB" noProof="0"/>
          </a:p>
        </p:txBody>
      </p:sp>
    </p:spTree>
    <p:custDataLst>
      <p:tags r:id="rId2"/>
    </p:custDataLst>
    <p:extLst>
      <p:ext uri="{BB962C8B-B14F-4D97-AF65-F5344CB8AC3E}">
        <p14:creationId xmlns:p14="http://schemas.microsoft.com/office/powerpoint/2010/main" val="2034911216"/>
      </p:ext>
    </p:extLst>
  </p:cSld>
  <p:clrMapOvr>
    <a:masterClrMapping/>
  </p:clrMapOvr>
  <p:extLst>
    <p:ext uri="{DCECCB84-F9BA-43D5-87BE-67443E8EF086}">
      <p15:sldGuideLst xmlns:p15="http://schemas.microsoft.com/office/powerpoint/2012/main">
        <p15:guide id="1" pos="327">
          <p15:clr>
            <a:srgbClr val="FBAE40"/>
          </p15:clr>
        </p15:guide>
        <p15:guide id="2" orient="horz" pos="204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217070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GB" smtClean="0"/>
              <a:pPr rtl="0"/>
              <a:t>‹nr.›</a:t>
            </a:fld>
            <a:r>
              <a:rPr lang="ro"/>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ro" noProof="0"/>
              <a:t>Subheading, Arial Regular 14 pt</a:t>
            </a:r>
          </a:p>
        </p:txBody>
      </p:sp>
      <p:sp>
        <p:nvSpPr>
          <p:cNvPr id="11" name="Inhaltsplatzhalter 10"/>
          <p:cNvSpPr>
            <a:spLocks noGrp="1"/>
          </p:cNvSpPr>
          <p:nvPr>
            <p:ph sz="quarter" idx="14" hasCustomPrompt="1"/>
          </p:nvPr>
        </p:nvSpPr>
        <p:spPr>
          <a:xfrm>
            <a:off x="269877" y="1270158"/>
            <a:ext cx="11661773"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ro" noProof="0"/>
              <a:t>Content text, Arial Regular 14 pt</a:t>
            </a:r>
          </a:p>
          <a:p>
            <a:pPr lvl="1" rtl="0"/>
            <a:r>
              <a:rPr lang="ro" noProof="0"/>
              <a:t>Content bullet, Arial Regular 14pt </a:t>
            </a:r>
          </a:p>
          <a:p>
            <a:pPr lvl="2" rtl="0"/>
            <a:r>
              <a:rPr lang="ro" noProof="0"/>
              <a:t>Content bullet</a:t>
            </a:r>
          </a:p>
          <a:p>
            <a:pPr lvl="3" rtl="0"/>
            <a:r>
              <a:rPr lang="ro" noProof="0"/>
              <a:t>Content bullet</a:t>
            </a:r>
          </a:p>
          <a:p>
            <a:pPr lvl="4" rtl="0"/>
            <a:r>
              <a:rPr lang="ro"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ro"/>
              <a:t>Content slide,</a:t>
            </a:r>
            <a:r>
              <a:rPr lang="ro" noProof="0"/>
              <a:t> Arial Narrow 24 pt</a:t>
            </a:r>
          </a:p>
        </p:txBody>
      </p:sp>
    </p:spTree>
    <p:custDataLst>
      <p:tags r:id="rId2"/>
    </p:custDataLst>
    <p:extLst>
      <p:ext uri="{BB962C8B-B14F-4D97-AF65-F5344CB8AC3E}">
        <p14:creationId xmlns:p14="http://schemas.microsoft.com/office/powerpoint/2010/main" val="4263090632"/>
      </p:ext>
    </p:extLst>
  </p:cSld>
  <p:clrMapOvr>
    <a:masterClrMapping/>
  </p:clrMapOvr>
  <p:extLst>
    <p:ext uri="{DCECCB84-F9BA-43D5-87BE-67443E8EF086}">
      <p15:sldGuideLst xmlns:p15="http://schemas.microsoft.com/office/powerpoint/2012/main">
        <p15:guide id="1" pos="3797">
          <p15:clr>
            <a:srgbClr val="FBAE40"/>
          </p15:clr>
        </p15:guide>
        <p15:guide id="2" pos="39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two box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393799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GB" smtClean="0"/>
              <a:pPr rtl="0"/>
              <a:t>‹nr.›</a:t>
            </a:fld>
            <a:r>
              <a:rPr lang="ro"/>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ro" noProof="0"/>
              <a:t>Subheading, Arial Regular 14 pt</a:t>
            </a:r>
          </a:p>
        </p:txBody>
      </p:sp>
      <p:sp>
        <p:nvSpPr>
          <p:cNvPr id="11" name="Inhaltsplatzhalter 10"/>
          <p:cNvSpPr>
            <a:spLocks noGrp="1"/>
          </p:cNvSpPr>
          <p:nvPr>
            <p:ph sz="quarter" idx="14" hasCustomPrompt="1"/>
          </p:nvPr>
        </p:nvSpPr>
        <p:spPr>
          <a:xfrm>
            <a:off x="269877" y="1270158"/>
            <a:ext cx="5759449"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ro" noProof="0"/>
              <a:t>Content text, Arial Regular 14 pt</a:t>
            </a:r>
          </a:p>
          <a:p>
            <a:pPr lvl="1" rtl="0"/>
            <a:r>
              <a:rPr lang="ro" noProof="0"/>
              <a:t>Content bullet, Arial Regular 14pt </a:t>
            </a:r>
          </a:p>
          <a:p>
            <a:pPr lvl="2" rtl="0"/>
            <a:r>
              <a:rPr lang="ro" noProof="0"/>
              <a:t>Content bullet</a:t>
            </a:r>
          </a:p>
          <a:p>
            <a:pPr lvl="3" rtl="0"/>
            <a:r>
              <a:rPr lang="ro" noProof="0"/>
              <a:t>Content bullet</a:t>
            </a:r>
          </a:p>
          <a:p>
            <a:pPr lvl="4" rtl="0"/>
            <a:r>
              <a:rPr lang="ro"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ro"/>
              <a:t>Content slide two boxes,</a:t>
            </a:r>
            <a:r>
              <a:rPr lang="ro" noProof="0"/>
              <a:t> Arial Narrow 24 pt</a:t>
            </a:r>
          </a:p>
        </p:txBody>
      </p:sp>
      <p:sp>
        <p:nvSpPr>
          <p:cNvPr id="9" name="Inhaltsplatzhalter 8">
            <a:extLst>
              <a:ext uri="{FF2B5EF4-FFF2-40B4-BE49-F238E27FC236}">
                <a16:creationId xmlns:a16="http://schemas.microsoft.com/office/drawing/2014/main" id="{47FBEEAF-F9D0-4863-882A-E0B209884539}"/>
              </a:ext>
            </a:extLst>
          </p:cNvPr>
          <p:cNvSpPr>
            <a:spLocks noGrp="1"/>
          </p:cNvSpPr>
          <p:nvPr>
            <p:ph sz="quarter" idx="15" hasCustomPrompt="1"/>
          </p:nvPr>
        </p:nvSpPr>
        <p:spPr>
          <a:xfrm>
            <a:off x="6207125" y="1270158"/>
            <a:ext cx="5724525" cy="5076825"/>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ro" noProof="0"/>
              <a:t>Content text, Arial Regular 14 pt</a:t>
            </a:r>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p>
        </p:txBody>
      </p:sp>
    </p:spTree>
    <p:custDataLst>
      <p:tags r:id="rId2"/>
    </p:custDataLst>
    <p:extLst>
      <p:ext uri="{BB962C8B-B14F-4D97-AF65-F5344CB8AC3E}">
        <p14:creationId xmlns:p14="http://schemas.microsoft.com/office/powerpoint/2010/main" val="3847600823"/>
      </p:ext>
    </p:extLst>
  </p:cSld>
  <p:clrMapOvr>
    <a:masterClrMapping/>
  </p:clrMapOvr>
  <p:extLst>
    <p:ext uri="{DCECCB84-F9BA-43D5-87BE-67443E8EF086}">
      <p15:sldGuideLst xmlns:p15="http://schemas.microsoft.com/office/powerpoint/2012/main">
        <p15:guide id="1" pos="3797">
          <p15:clr>
            <a:srgbClr val="FBAE40"/>
          </p15:clr>
        </p15:guide>
        <p15:guide id="2" pos="39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three box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402563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GB" smtClean="0"/>
              <a:pPr rtl="0"/>
              <a:t>‹nr.›</a:t>
            </a:fld>
            <a:r>
              <a:rPr lang="ro"/>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ro" noProof="0"/>
              <a:t>Subheading, Arial Regular 14 pt</a:t>
            </a:r>
          </a:p>
        </p:txBody>
      </p:sp>
      <p:sp>
        <p:nvSpPr>
          <p:cNvPr id="11" name="Inhaltsplatzhalter 10"/>
          <p:cNvSpPr>
            <a:spLocks noGrp="1"/>
          </p:cNvSpPr>
          <p:nvPr>
            <p:ph sz="quarter" idx="14" hasCustomPrompt="1"/>
          </p:nvPr>
        </p:nvSpPr>
        <p:spPr>
          <a:xfrm>
            <a:off x="269877" y="1270158"/>
            <a:ext cx="5759449" cy="5075236"/>
          </a:xfrm>
        </p:spPr>
        <p:txBody>
          <a:bodyPr rtlCol="0">
            <a:normAutofit/>
          </a:bodyPr>
          <a:lstStyle>
            <a:lvl1pPr rtl="0">
              <a:defRPr sz="1400"/>
            </a:lvl1pPr>
            <a:lvl2pPr rtl="0">
              <a:defRPr sz="1400"/>
            </a:lvl2pPr>
            <a:lvl3pPr rtl="0">
              <a:defRPr sz="1400"/>
            </a:lvl3pPr>
            <a:lvl4pPr rtl="0">
              <a:defRPr sz="1400"/>
            </a:lvl4pPr>
            <a:lvl5pPr rtl="0">
              <a:defRPr sz="1200"/>
            </a:lvl5pPr>
          </a:lstStyle>
          <a:p>
            <a:pPr lvl="0" rtl="0"/>
            <a:r>
              <a:rPr lang="ro" noProof="0"/>
              <a:t>Content text, Arial Regular 14 pt</a:t>
            </a:r>
          </a:p>
          <a:p>
            <a:pPr lvl="1" rtl="0"/>
            <a:r>
              <a:rPr lang="ro" noProof="0"/>
              <a:t>Content bullet, Arial Regular 14pt </a:t>
            </a:r>
          </a:p>
          <a:p>
            <a:pPr lvl="2" rtl="0"/>
            <a:r>
              <a:rPr lang="ro" noProof="0"/>
              <a:t>Content bullet</a:t>
            </a:r>
          </a:p>
          <a:p>
            <a:pPr lvl="3" rtl="0"/>
            <a:r>
              <a:rPr lang="ro" noProof="0"/>
              <a:t>Content bullet</a:t>
            </a:r>
          </a:p>
          <a:p>
            <a:pPr lvl="4" rtl="0"/>
            <a:r>
              <a:rPr lang="ro" noProof="0"/>
              <a:t>Content bullet</a:t>
            </a:r>
          </a:p>
          <a:p>
            <a:pPr lvl="4" rtl="0"/>
            <a:endParaRPr lang="en-GB" noProof="0"/>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ro"/>
              <a:t>Content slide three boxes,</a:t>
            </a:r>
            <a:r>
              <a:rPr lang="ro" noProof="0"/>
              <a:t> Arial Narrow 24 pt</a:t>
            </a:r>
          </a:p>
        </p:txBody>
      </p:sp>
      <p:sp>
        <p:nvSpPr>
          <p:cNvPr id="9" name="Inhaltsplatzhalter 8">
            <a:extLst>
              <a:ext uri="{FF2B5EF4-FFF2-40B4-BE49-F238E27FC236}">
                <a16:creationId xmlns:a16="http://schemas.microsoft.com/office/drawing/2014/main" id="{47FBEEAF-F9D0-4863-882A-E0B209884539}"/>
              </a:ext>
            </a:extLst>
          </p:cNvPr>
          <p:cNvSpPr>
            <a:spLocks noGrp="1"/>
          </p:cNvSpPr>
          <p:nvPr>
            <p:ph sz="quarter" idx="15" hasCustomPrompt="1"/>
          </p:nvPr>
        </p:nvSpPr>
        <p:spPr>
          <a:xfrm>
            <a:off x="6207125" y="1270158"/>
            <a:ext cx="5724525" cy="2447925"/>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ro" noProof="0"/>
              <a:t>Content text, Arial Regular 14 pt</a:t>
            </a:r>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p>
        </p:txBody>
      </p:sp>
      <p:sp>
        <p:nvSpPr>
          <p:cNvPr id="12" name="Inhaltsplatzhalter 8">
            <a:extLst>
              <a:ext uri="{FF2B5EF4-FFF2-40B4-BE49-F238E27FC236}">
                <a16:creationId xmlns:a16="http://schemas.microsoft.com/office/drawing/2014/main" id="{743C28FF-F4E0-4832-9900-2464ED6C7844}"/>
              </a:ext>
            </a:extLst>
          </p:cNvPr>
          <p:cNvSpPr>
            <a:spLocks noGrp="1"/>
          </p:cNvSpPr>
          <p:nvPr>
            <p:ph sz="quarter" idx="16" hasCustomPrompt="1"/>
          </p:nvPr>
        </p:nvSpPr>
        <p:spPr>
          <a:xfrm>
            <a:off x="6207125" y="3897313"/>
            <a:ext cx="5724525" cy="2447925"/>
          </a:xfrm>
        </p:spPr>
        <p:txBody>
          <a:bodyPr rtlCol="0">
            <a:normAutofit/>
          </a:bodyPr>
          <a:lstStyle>
            <a:lvl1pPr rtl="0">
              <a:defRPr sz="1400"/>
            </a:lvl1pPr>
            <a:lvl2pPr rtl="0">
              <a:defRPr sz="1400"/>
            </a:lvl2pPr>
            <a:lvl3pPr rtl="0">
              <a:defRPr sz="1400"/>
            </a:lvl3pPr>
            <a:lvl4pPr rtl="0">
              <a:defRPr sz="1400"/>
            </a:lvl4pPr>
            <a:lvl5pPr rtl="0">
              <a:defRPr sz="1200"/>
            </a:lvl5pPr>
          </a:lstStyle>
          <a:p>
            <a:pPr lvl="0" rtl="0"/>
            <a:r>
              <a:rPr lang="ro" noProof="0"/>
              <a:t>Content text, Arial Regular 14 pt</a:t>
            </a:r>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p>
          <a:p>
            <a:pPr lvl="4" rtl="0"/>
            <a:endParaRPr lang="en-GB"/>
          </a:p>
        </p:txBody>
      </p:sp>
    </p:spTree>
    <p:custDataLst>
      <p:tags r:id="rId2"/>
    </p:custDataLst>
    <p:extLst>
      <p:ext uri="{BB962C8B-B14F-4D97-AF65-F5344CB8AC3E}">
        <p14:creationId xmlns:p14="http://schemas.microsoft.com/office/powerpoint/2010/main" val="2762602448"/>
      </p:ext>
    </p:extLst>
  </p:cSld>
  <p:clrMapOvr>
    <a:masterClrMapping/>
  </p:clrMapOvr>
  <p:extLst>
    <p:ext uri="{DCECCB84-F9BA-43D5-87BE-67443E8EF086}">
      <p15:sldGuideLst xmlns:p15="http://schemas.microsoft.com/office/powerpoint/2012/main">
        <p15:guide id="1" pos="3797">
          <p15:clr>
            <a:srgbClr val="FBAE40"/>
          </p15:clr>
        </p15:guide>
        <p15:guide id="2" pos="3910">
          <p15:clr>
            <a:srgbClr val="FBAE40"/>
          </p15:clr>
        </p15:guide>
        <p15:guide id="3" orient="horz" pos="2341">
          <p15:clr>
            <a:srgbClr val="FBAE40"/>
          </p15:clr>
        </p15:guide>
        <p15:guide id="4" orient="horz" pos="245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4225617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GB" smtClean="0"/>
              <a:pPr rtl="0"/>
              <a:t>‹nr.›</a:t>
            </a:fld>
            <a:r>
              <a:rPr lang="ro"/>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ro" noProof="0"/>
              <a:t>Subheading, Arial Regular 14 pt</a:t>
            </a:r>
          </a:p>
        </p:txBody>
      </p:sp>
      <p:sp>
        <p:nvSpPr>
          <p:cNvPr id="6" name="Titel 5">
            <a:extLst>
              <a:ext uri="{FF2B5EF4-FFF2-40B4-BE49-F238E27FC236}">
                <a16:creationId xmlns:a16="http://schemas.microsoft.com/office/drawing/2014/main" id="{2B07B292-2432-43AE-A9DC-E57B6304BACB}"/>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ro" noProof="0"/>
              <a:t>Only title, Arial Narrow 24 pt</a:t>
            </a:r>
          </a:p>
        </p:txBody>
      </p:sp>
    </p:spTree>
    <p:custDataLst>
      <p:tags r:id="rId2"/>
    </p:custDataLst>
    <p:extLst>
      <p:ext uri="{BB962C8B-B14F-4D97-AF65-F5344CB8AC3E}">
        <p14:creationId xmlns:p14="http://schemas.microsoft.com/office/powerpoint/2010/main" val="312499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111577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2">
            <a:extLst>
              <a:ext uri="{FF2B5EF4-FFF2-40B4-BE49-F238E27FC236}">
                <a16:creationId xmlns:a16="http://schemas.microsoft.com/office/drawing/2014/main" id="{4DBF72B4-64D4-6915-1636-7C561D3AA190}"/>
              </a:ext>
            </a:extLst>
          </p:cNvPr>
          <p:cNvSpPr>
            <a:spLocks noGrp="1"/>
          </p:cNvSpPr>
          <p:nvPr>
            <p:ph type="dt" sz="half" idx="10"/>
          </p:nvPr>
        </p:nvSpPr>
        <p:spPr>
          <a:xfrm>
            <a:off x="10823421" y="6643445"/>
            <a:ext cx="1111005" cy="123111"/>
          </a:xfrm>
        </p:spPr>
        <p:txBody>
          <a:bodyPr rtlCol="0"/>
          <a:lstStyle>
            <a:lvl1pPr rtl="0">
              <a:defRPr/>
            </a:lvl1pPr>
          </a:lstStyle>
          <a:p>
            <a:pPr rtl="0"/>
            <a:endParaRPr lang="en-US"/>
          </a:p>
        </p:txBody>
      </p:sp>
      <p:sp>
        <p:nvSpPr>
          <p:cNvPr id="3" name="Fußzeilenplatzhalter 3">
            <a:extLst>
              <a:ext uri="{FF2B5EF4-FFF2-40B4-BE49-F238E27FC236}">
                <a16:creationId xmlns:a16="http://schemas.microsoft.com/office/drawing/2014/main" id="{A6BC0260-7F8E-4CD1-B81F-71B3430A697F}"/>
              </a:ext>
            </a:extLst>
          </p:cNvPr>
          <p:cNvSpPr>
            <a:spLocks noGrp="1"/>
          </p:cNvSpPr>
          <p:nvPr>
            <p:ph type="ftr" sz="quarter" idx="11"/>
          </p:nvPr>
        </p:nvSpPr>
        <p:spPr>
          <a:xfrm>
            <a:off x="269878" y="6643445"/>
            <a:ext cx="5068886" cy="123111"/>
          </a:xfrm>
        </p:spPr>
        <p:txBody>
          <a:bodyPr rtlCol="0"/>
          <a:lstStyle>
            <a:lvl1pPr rtl="0">
              <a:defRPr/>
            </a:lvl1pPr>
          </a:lstStyle>
          <a:p>
            <a:pPr rtl="0"/>
            <a:endParaRPr lang="en-US"/>
          </a:p>
        </p:txBody>
      </p:sp>
      <p:sp>
        <p:nvSpPr>
          <p:cNvPr id="4" name="Foliennummernplatzhalter 4">
            <a:extLst>
              <a:ext uri="{FF2B5EF4-FFF2-40B4-BE49-F238E27FC236}">
                <a16:creationId xmlns:a16="http://schemas.microsoft.com/office/drawing/2014/main" id="{33688D0D-07B6-6113-C484-C4824B073109}"/>
              </a:ext>
            </a:extLst>
          </p:cNvPr>
          <p:cNvSpPr>
            <a:spLocks noGrp="1"/>
          </p:cNvSpPr>
          <p:nvPr>
            <p:ph type="sldNum" sz="quarter" idx="12"/>
          </p:nvPr>
        </p:nvSpPr>
        <p:spPr>
          <a:xfrm>
            <a:off x="8200799" y="6643445"/>
            <a:ext cx="429245" cy="123111"/>
          </a:xfrm>
        </p:spPr>
        <p:txBody>
          <a:bodyPr rtlCol="0"/>
          <a:lstStyle>
            <a:lvl1pPr rtl="0">
              <a:defRPr/>
            </a:lvl1pPr>
          </a:lstStyle>
          <a:p>
            <a:pPr rtl="0"/>
            <a:r>
              <a:rPr lang="ro"/>
              <a:t>- </a:t>
            </a:r>
            <a:fld id="{94A6D44E-0BF8-4A10-A708-3AB32E33FA71}" type="slidenum">
              <a:rPr lang="en-US" smtClean="0"/>
              <a:t>‹nr.›</a:t>
            </a:fld>
            <a:r>
              <a:rPr lang="ro"/>
              <a:t> -</a:t>
            </a:r>
          </a:p>
        </p:txBody>
      </p:sp>
      <p:sp>
        <p:nvSpPr>
          <p:cNvPr id="5" name="Rechteck 4">
            <a:extLst>
              <a:ext uri="{FF2B5EF4-FFF2-40B4-BE49-F238E27FC236}">
                <a16:creationId xmlns:a16="http://schemas.microsoft.com/office/drawing/2014/main" id="{D836FDE6-5DF1-D4E9-0069-EA9D9B79734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D8AA6CB-FBA6-D75B-FF67-2708768202A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grpSp>
        <p:nvGrpSpPr>
          <p:cNvPr id="7" name="Gruppieren 6">
            <a:extLst>
              <a:ext uri="{FF2B5EF4-FFF2-40B4-BE49-F238E27FC236}">
                <a16:creationId xmlns:a16="http://schemas.microsoft.com/office/drawing/2014/main" id="{40F73542-BF22-B017-BDDC-B7439BD89B8C}"/>
              </a:ext>
            </a:extLst>
          </p:cNvPr>
          <p:cNvGrpSpPr>
            <a:grpSpLocks/>
          </p:cNvGrpSpPr>
          <p:nvPr userDrawn="1"/>
        </p:nvGrpSpPr>
        <p:grpSpPr>
          <a:xfrm>
            <a:off x="10714588" y="263197"/>
            <a:ext cx="1218552" cy="375634"/>
            <a:chOff x="7241394" y="191294"/>
            <a:chExt cx="1717661" cy="529490"/>
          </a:xfrm>
        </p:grpSpPr>
        <p:sp>
          <p:nvSpPr>
            <p:cNvPr id="8" name="Rectangle 1069">
              <a:extLst>
                <a:ext uri="{FF2B5EF4-FFF2-40B4-BE49-F238E27FC236}">
                  <a16:creationId xmlns:a16="http://schemas.microsoft.com/office/drawing/2014/main" id="{32449F84-8CCC-E599-A93A-DF09F439D251}"/>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9" name="AutoShape 4">
              <a:extLst>
                <a:ext uri="{FF2B5EF4-FFF2-40B4-BE49-F238E27FC236}">
                  <a16:creationId xmlns:a16="http://schemas.microsoft.com/office/drawing/2014/main" id="{3D658E6D-A9B4-54D1-098B-EB0C15C2F55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1" name="Freeform 6">
              <a:extLst>
                <a:ext uri="{FF2B5EF4-FFF2-40B4-BE49-F238E27FC236}">
                  <a16:creationId xmlns:a16="http://schemas.microsoft.com/office/drawing/2014/main" id="{5E533E9C-8DFC-58A2-4934-625C3854FB12}"/>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2" name="Freeform 7">
              <a:extLst>
                <a:ext uri="{FF2B5EF4-FFF2-40B4-BE49-F238E27FC236}">
                  <a16:creationId xmlns:a16="http://schemas.microsoft.com/office/drawing/2014/main" id="{55AB9ADD-D971-2A2D-87DF-31BCF126BACC}"/>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8">
              <a:extLst>
                <a:ext uri="{FF2B5EF4-FFF2-40B4-BE49-F238E27FC236}">
                  <a16:creationId xmlns:a16="http://schemas.microsoft.com/office/drawing/2014/main" id="{5AE12D66-6D8B-0F62-5D03-1EC99E33679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4" name="Freeform 9">
              <a:extLst>
                <a:ext uri="{FF2B5EF4-FFF2-40B4-BE49-F238E27FC236}">
                  <a16:creationId xmlns:a16="http://schemas.microsoft.com/office/drawing/2014/main" id="{E749A0EE-B2BF-21D9-BCDE-342B4B92FF33}"/>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10">
              <a:extLst>
                <a:ext uri="{FF2B5EF4-FFF2-40B4-BE49-F238E27FC236}">
                  <a16:creationId xmlns:a16="http://schemas.microsoft.com/office/drawing/2014/main" id="{DB5ADDF1-411C-A152-9A2F-1BC837212A4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11">
              <a:extLst>
                <a:ext uri="{FF2B5EF4-FFF2-40B4-BE49-F238E27FC236}">
                  <a16:creationId xmlns:a16="http://schemas.microsoft.com/office/drawing/2014/main" id="{75EA8F85-760F-6BE5-007E-631ED5199EF1}"/>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2986189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slide dark gray">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BDA693A6-6320-3DE5-54C1-F09CD2A38BA5}"/>
              </a:ext>
            </a:extLst>
          </p:cNvPr>
          <p:cNvSpPr/>
          <p:nvPr userDrawn="1"/>
        </p:nvSpPr>
        <p:spPr>
          <a:xfrm>
            <a:off x="-1551" y="1"/>
            <a:ext cx="12198350" cy="6345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76144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2">
            <a:extLst>
              <a:ext uri="{FF2B5EF4-FFF2-40B4-BE49-F238E27FC236}">
                <a16:creationId xmlns:a16="http://schemas.microsoft.com/office/drawing/2014/main" id="{4DBF72B4-64D4-6915-1636-7C561D3AA190}"/>
              </a:ext>
            </a:extLst>
          </p:cNvPr>
          <p:cNvSpPr>
            <a:spLocks noGrp="1"/>
          </p:cNvSpPr>
          <p:nvPr>
            <p:ph type="dt" sz="half" idx="10"/>
          </p:nvPr>
        </p:nvSpPr>
        <p:spPr>
          <a:xfrm>
            <a:off x="10823421" y="6643445"/>
            <a:ext cx="1111005" cy="123111"/>
          </a:xfrm>
        </p:spPr>
        <p:txBody>
          <a:bodyPr rtlCol="0"/>
          <a:lstStyle>
            <a:lvl1pPr rtl="0">
              <a:defRPr/>
            </a:lvl1pPr>
          </a:lstStyle>
          <a:p>
            <a:pPr rtl="0"/>
            <a:endParaRPr lang="en-US"/>
          </a:p>
        </p:txBody>
      </p:sp>
      <p:sp>
        <p:nvSpPr>
          <p:cNvPr id="3" name="Fußzeilenplatzhalter 3">
            <a:extLst>
              <a:ext uri="{FF2B5EF4-FFF2-40B4-BE49-F238E27FC236}">
                <a16:creationId xmlns:a16="http://schemas.microsoft.com/office/drawing/2014/main" id="{A6BC0260-7F8E-4CD1-B81F-71B3430A697F}"/>
              </a:ext>
            </a:extLst>
          </p:cNvPr>
          <p:cNvSpPr>
            <a:spLocks noGrp="1"/>
          </p:cNvSpPr>
          <p:nvPr>
            <p:ph type="ftr" sz="quarter" idx="11"/>
          </p:nvPr>
        </p:nvSpPr>
        <p:spPr>
          <a:xfrm>
            <a:off x="269878" y="6643445"/>
            <a:ext cx="5068886" cy="123111"/>
          </a:xfrm>
        </p:spPr>
        <p:txBody>
          <a:bodyPr rtlCol="0"/>
          <a:lstStyle>
            <a:lvl1pPr rtl="0">
              <a:defRPr/>
            </a:lvl1pPr>
          </a:lstStyle>
          <a:p>
            <a:pPr rtl="0"/>
            <a:endParaRPr lang="en-US"/>
          </a:p>
        </p:txBody>
      </p:sp>
      <p:sp>
        <p:nvSpPr>
          <p:cNvPr id="4" name="Foliennummernplatzhalter 4">
            <a:extLst>
              <a:ext uri="{FF2B5EF4-FFF2-40B4-BE49-F238E27FC236}">
                <a16:creationId xmlns:a16="http://schemas.microsoft.com/office/drawing/2014/main" id="{33688D0D-07B6-6113-C484-C4824B073109}"/>
              </a:ext>
            </a:extLst>
          </p:cNvPr>
          <p:cNvSpPr>
            <a:spLocks noGrp="1"/>
          </p:cNvSpPr>
          <p:nvPr>
            <p:ph type="sldNum" sz="quarter" idx="12"/>
          </p:nvPr>
        </p:nvSpPr>
        <p:spPr>
          <a:xfrm>
            <a:off x="8200799" y="6643445"/>
            <a:ext cx="429245" cy="123111"/>
          </a:xfrm>
        </p:spPr>
        <p:txBody>
          <a:bodyPr rtlCol="0"/>
          <a:lstStyle>
            <a:lvl1pPr rtl="0">
              <a:defRPr/>
            </a:lvl1pPr>
          </a:lstStyle>
          <a:p>
            <a:pPr rtl="0"/>
            <a:r>
              <a:rPr lang="ro"/>
              <a:t>- </a:t>
            </a:r>
            <a:fld id="{94A6D44E-0BF8-4A10-A708-3AB32E33FA71}" type="slidenum">
              <a:rPr lang="en-US" smtClean="0"/>
              <a:t>‹nr.›</a:t>
            </a:fld>
            <a:r>
              <a:rPr lang="ro"/>
              <a:t> -</a:t>
            </a:r>
          </a:p>
        </p:txBody>
      </p:sp>
      <p:sp>
        <p:nvSpPr>
          <p:cNvPr id="5" name="Rechteck 4">
            <a:extLst>
              <a:ext uri="{FF2B5EF4-FFF2-40B4-BE49-F238E27FC236}">
                <a16:creationId xmlns:a16="http://schemas.microsoft.com/office/drawing/2014/main" id="{D836FDE6-5DF1-D4E9-0069-EA9D9B79734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D8AA6CB-FBA6-D75B-FF67-2708768202A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18" name="Titel 17">
            <a:extLst>
              <a:ext uri="{FF2B5EF4-FFF2-40B4-BE49-F238E27FC236}">
                <a16:creationId xmlns:a16="http://schemas.microsoft.com/office/drawing/2014/main" id="{7E370BF9-B634-DBC9-0293-3101281D85F4}"/>
              </a:ext>
            </a:extLst>
          </p:cNvPr>
          <p:cNvSpPr>
            <a:spLocks noGrp="1"/>
          </p:cNvSpPr>
          <p:nvPr>
            <p:ph type="title" hasCustomPrompt="1"/>
          </p:nvPr>
        </p:nvSpPr>
        <p:spPr>
          <a:xfrm>
            <a:off x="268289" y="624807"/>
            <a:ext cx="9682162" cy="369332"/>
          </a:xfrm>
        </p:spPr>
        <p:txBody>
          <a:bodyPr vert="horz" rtlCol="0"/>
          <a:lstStyle>
            <a:lvl1pPr rtl="0">
              <a:defRPr>
                <a:solidFill>
                  <a:schemeClr val="bg1"/>
                </a:solidFill>
              </a:defRPr>
            </a:lvl1pPr>
          </a:lstStyle>
          <a:p>
            <a:pPr rtl="0"/>
            <a:r>
              <a:rPr lang="ro"/>
              <a:t>Content slide dark gray, Arial Narrow 24 pt</a:t>
            </a:r>
          </a:p>
        </p:txBody>
      </p:sp>
      <p:grpSp>
        <p:nvGrpSpPr>
          <p:cNvPr id="24" name="Gruppieren 23">
            <a:extLst>
              <a:ext uri="{FF2B5EF4-FFF2-40B4-BE49-F238E27FC236}">
                <a16:creationId xmlns:a16="http://schemas.microsoft.com/office/drawing/2014/main" id="{53E3D09C-96EF-B068-7CB7-64BDEA8B7675}"/>
              </a:ext>
            </a:extLst>
          </p:cNvPr>
          <p:cNvGrpSpPr>
            <a:grpSpLocks/>
          </p:cNvGrpSpPr>
          <p:nvPr userDrawn="1"/>
        </p:nvGrpSpPr>
        <p:grpSpPr>
          <a:xfrm>
            <a:off x="10714588" y="263197"/>
            <a:ext cx="1218552" cy="375634"/>
            <a:chOff x="7241394" y="191294"/>
            <a:chExt cx="1717661" cy="529490"/>
          </a:xfrm>
        </p:grpSpPr>
        <p:sp>
          <p:nvSpPr>
            <p:cNvPr id="25" name="Rectangle 1069">
              <a:extLst>
                <a:ext uri="{FF2B5EF4-FFF2-40B4-BE49-F238E27FC236}">
                  <a16:creationId xmlns:a16="http://schemas.microsoft.com/office/drawing/2014/main" id="{B516F1FD-129C-4BF4-3E85-AB6EC6412935}"/>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26" name="AutoShape 4">
              <a:extLst>
                <a:ext uri="{FF2B5EF4-FFF2-40B4-BE49-F238E27FC236}">
                  <a16:creationId xmlns:a16="http://schemas.microsoft.com/office/drawing/2014/main" id="{3D78F144-156B-D12D-DCDF-07B29089C518}"/>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6">
              <a:extLst>
                <a:ext uri="{FF2B5EF4-FFF2-40B4-BE49-F238E27FC236}">
                  <a16:creationId xmlns:a16="http://schemas.microsoft.com/office/drawing/2014/main" id="{9854976F-0B33-4304-B876-B4900672A9CB}"/>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7">
              <a:extLst>
                <a:ext uri="{FF2B5EF4-FFF2-40B4-BE49-F238E27FC236}">
                  <a16:creationId xmlns:a16="http://schemas.microsoft.com/office/drawing/2014/main" id="{094B694F-3146-D0F6-2E26-B5CA51794C0C}"/>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8">
              <a:extLst>
                <a:ext uri="{FF2B5EF4-FFF2-40B4-BE49-F238E27FC236}">
                  <a16:creationId xmlns:a16="http://schemas.microsoft.com/office/drawing/2014/main" id="{C7649504-5DAC-D36D-53B9-1DA5A5778B98}"/>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9">
              <a:extLst>
                <a:ext uri="{FF2B5EF4-FFF2-40B4-BE49-F238E27FC236}">
                  <a16:creationId xmlns:a16="http://schemas.microsoft.com/office/drawing/2014/main" id="{C61899D0-01AF-0A36-EF14-E7F45614B04C}"/>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31" name="Freeform 10">
              <a:extLst>
                <a:ext uri="{FF2B5EF4-FFF2-40B4-BE49-F238E27FC236}">
                  <a16:creationId xmlns:a16="http://schemas.microsoft.com/office/drawing/2014/main" id="{2F3B6481-3AA0-0713-F816-2B0734C2F4C1}"/>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2" name="Freeform 11">
              <a:extLst>
                <a:ext uri="{FF2B5EF4-FFF2-40B4-BE49-F238E27FC236}">
                  <a16:creationId xmlns:a16="http://schemas.microsoft.com/office/drawing/2014/main" id="{0C6ADCFC-838E-48FE-05CC-99E7CDA0E57D}"/>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35" name="Textplatzhalter 34">
            <a:extLst>
              <a:ext uri="{FF2B5EF4-FFF2-40B4-BE49-F238E27FC236}">
                <a16:creationId xmlns:a16="http://schemas.microsoft.com/office/drawing/2014/main" id="{F3260FAA-0043-05D5-488C-5E301BAA9EC5}"/>
              </a:ext>
            </a:extLst>
          </p:cNvPr>
          <p:cNvSpPr>
            <a:spLocks noGrp="1"/>
          </p:cNvSpPr>
          <p:nvPr>
            <p:ph type="body" sz="quarter" idx="13" hasCustomPrompt="1"/>
          </p:nvPr>
        </p:nvSpPr>
        <p:spPr>
          <a:xfrm>
            <a:off x="266700" y="1268413"/>
            <a:ext cx="1166495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37" name="Textplatzhalter 36">
            <a:extLst>
              <a:ext uri="{FF2B5EF4-FFF2-40B4-BE49-F238E27FC236}">
                <a16:creationId xmlns:a16="http://schemas.microsoft.com/office/drawing/2014/main" id="{CCDCEEC9-DCAE-28E3-28D9-BE5B817DCBB8}"/>
              </a:ext>
            </a:extLst>
          </p:cNvPr>
          <p:cNvSpPr>
            <a:spLocks noGrp="1"/>
          </p:cNvSpPr>
          <p:nvPr>
            <p:ph type="body" sz="quarter" idx="14" hasCustomPrompt="1"/>
          </p:nvPr>
        </p:nvSpPr>
        <p:spPr>
          <a:xfrm>
            <a:off x="268288" y="264974"/>
            <a:ext cx="9682162" cy="215444"/>
          </a:xfrm>
        </p:spPr>
        <p:txBody>
          <a:bodyPr rtlCol="0">
            <a:spAutoFit/>
          </a:bodyPr>
          <a:lstStyle>
            <a:lvl1pPr rtl="0">
              <a:defRPr>
                <a:solidFill>
                  <a:schemeClr val="bg1"/>
                </a:solidFill>
              </a:defRPr>
            </a:lvl1pPr>
            <a:lvl5pPr>
              <a:defRPr/>
            </a:lvl5pPr>
          </a:lstStyle>
          <a:p>
            <a:pPr lvl="0" rtl="0"/>
            <a:r>
              <a:rPr lang="ro"/>
              <a:t>Topline, Arial Regular 14 pt</a:t>
            </a:r>
          </a:p>
        </p:txBody>
      </p:sp>
    </p:spTree>
    <p:custDataLst>
      <p:tags r:id="rId2"/>
    </p:custDataLst>
    <p:extLst>
      <p:ext uri="{BB962C8B-B14F-4D97-AF65-F5344CB8AC3E}">
        <p14:creationId xmlns:p14="http://schemas.microsoft.com/office/powerpoint/2010/main" val="399067850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 slide blu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07291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hteck 43">
            <a:extLst>
              <a:ext uri="{FF2B5EF4-FFF2-40B4-BE49-F238E27FC236}">
                <a16:creationId xmlns:a16="http://schemas.microsoft.com/office/drawing/2014/main" id="{221018A7-EF83-5A7C-2FEA-61A4E9E27571}"/>
              </a:ext>
            </a:extLst>
          </p:cNvPr>
          <p:cNvSpPr/>
          <p:nvPr userDrawn="1"/>
        </p:nvSpPr>
        <p:spPr>
          <a:xfrm>
            <a:off x="-1551" y="1"/>
            <a:ext cx="12198350"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2" name="Datumsplatzhalter 2">
            <a:extLst>
              <a:ext uri="{FF2B5EF4-FFF2-40B4-BE49-F238E27FC236}">
                <a16:creationId xmlns:a16="http://schemas.microsoft.com/office/drawing/2014/main" id="{4DBF72B4-64D4-6915-1636-7C561D3AA190}"/>
              </a:ext>
            </a:extLst>
          </p:cNvPr>
          <p:cNvSpPr>
            <a:spLocks noGrp="1"/>
          </p:cNvSpPr>
          <p:nvPr>
            <p:ph type="dt" sz="half" idx="10"/>
          </p:nvPr>
        </p:nvSpPr>
        <p:spPr>
          <a:xfrm>
            <a:off x="10823421" y="6643445"/>
            <a:ext cx="1111005" cy="123111"/>
          </a:xfrm>
        </p:spPr>
        <p:txBody>
          <a:bodyPr rtlCol="0"/>
          <a:lstStyle>
            <a:lvl1pPr rtl="0">
              <a:defRPr/>
            </a:lvl1pPr>
          </a:lstStyle>
          <a:p>
            <a:pPr rtl="0"/>
            <a:endParaRPr lang="en-US"/>
          </a:p>
        </p:txBody>
      </p:sp>
      <p:sp>
        <p:nvSpPr>
          <p:cNvPr id="3" name="Fußzeilenplatzhalter 3">
            <a:extLst>
              <a:ext uri="{FF2B5EF4-FFF2-40B4-BE49-F238E27FC236}">
                <a16:creationId xmlns:a16="http://schemas.microsoft.com/office/drawing/2014/main" id="{A6BC0260-7F8E-4CD1-B81F-71B3430A697F}"/>
              </a:ext>
            </a:extLst>
          </p:cNvPr>
          <p:cNvSpPr>
            <a:spLocks noGrp="1"/>
          </p:cNvSpPr>
          <p:nvPr>
            <p:ph type="ftr" sz="quarter" idx="11"/>
          </p:nvPr>
        </p:nvSpPr>
        <p:spPr>
          <a:xfrm>
            <a:off x="269878" y="6643445"/>
            <a:ext cx="5068886" cy="123111"/>
          </a:xfrm>
        </p:spPr>
        <p:txBody>
          <a:bodyPr rtlCol="0"/>
          <a:lstStyle>
            <a:lvl1pPr rtl="0">
              <a:defRPr/>
            </a:lvl1pPr>
          </a:lstStyle>
          <a:p>
            <a:pPr rtl="0"/>
            <a:endParaRPr lang="en-US"/>
          </a:p>
        </p:txBody>
      </p:sp>
      <p:sp>
        <p:nvSpPr>
          <p:cNvPr id="4" name="Foliennummernplatzhalter 4">
            <a:extLst>
              <a:ext uri="{FF2B5EF4-FFF2-40B4-BE49-F238E27FC236}">
                <a16:creationId xmlns:a16="http://schemas.microsoft.com/office/drawing/2014/main" id="{33688D0D-07B6-6113-C484-C4824B073109}"/>
              </a:ext>
            </a:extLst>
          </p:cNvPr>
          <p:cNvSpPr>
            <a:spLocks noGrp="1"/>
          </p:cNvSpPr>
          <p:nvPr>
            <p:ph type="sldNum" sz="quarter" idx="12"/>
          </p:nvPr>
        </p:nvSpPr>
        <p:spPr>
          <a:xfrm>
            <a:off x="8200799" y="6643445"/>
            <a:ext cx="429245" cy="123111"/>
          </a:xfrm>
        </p:spPr>
        <p:txBody>
          <a:bodyPr rtlCol="0"/>
          <a:lstStyle>
            <a:lvl1pPr rtl="0">
              <a:defRPr/>
            </a:lvl1pPr>
          </a:lstStyle>
          <a:p>
            <a:pPr rtl="0"/>
            <a:r>
              <a:rPr lang="ro"/>
              <a:t>- </a:t>
            </a:r>
            <a:fld id="{94A6D44E-0BF8-4A10-A708-3AB32E33FA71}" type="slidenum">
              <a:rPr lang="en-US" smtClean="0"/>
              <a:t>‹nr.›</a:t>
            </a:fld>
            <a:r>
              <a:rPr lang="ro"/>
              <a:t> -</a:t>
            </a:r>
          </a:p>
        </p:txBody>
      </p:sp>
      <p:sp>
        <p:nvSpPr>
          <p:cNvPr id="5" name="Rechteck 4">
            <a:extLst>
              <a:ext uri="{FF2B5EF4-FFF2-40B4-BE49-F238E27FC236}">
                <a16:creationId xmlns:a16="http://schemas.microsoft.com/office/drawing/2014/main" id="{D836FDE6-5DF1-D4E9-0069-EA9D9B79734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D8AA6CB-FBA6-D75B-FF67-2708768202A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19" name="Titel 18">
            <a:extLst>
              <a:ext uri="{FF2B5EF4-FFF2-40B4-BE49-F238E27FC236}">
                <a16:creationId xmlns:a16="http://schemas.microsoft.com/office/drawing/2014/main" id="{E06CD9F1-7B3B-4D50-46E9-6F923E60576C}"/>
              </a:ext>
            </a:extLst>
          </p:cNvPr>
          <p:cNvSpPr>
            <a:spLocks noGrp="1"/>
          </p:cNvSpPr>
          <p:nvPr>
            <p:ph type="title" hasCustomPrompt="1"/>
          </p:nvPr>
        </p:nvSpPr>
        <p:spPr/>
        <p:txBody>
          <a:bodyPr vert="horz" rtlCol="0"/>
          <a:lstStyle>
            <a:lvl1pPr rtl="0">
              <a:defRPr>
                <a:solidFill>
                  <a:schemeClr val="bg1"/>
                </a:solidFill>
              </a:defRPr>
            </a:lvl1pPr>
          </a:lstStyle>
          <a:p>
            <a:pPr rtl="0"/>
            <a:r>
              <a:rPr lang="ro"/>
              <a:t>Content slide blue, Arial Narrow 24 pt</a:t>
            </a:r>
          </a:p>
        </p:txBody>
      </p:sp>
      <p:grpSp>
        <p:nvGrpSpPr>
          <p:cNvPr id="33" name="Gruppieren 32">
            <a:extLst>
              <a:ext uri="{FF2B5EF4-FFF2-40B4-BE49-F238E27FC236}">
                <a16:creationId xmlns:a16="http://schemas.microsoft.com/office/drawing/2014/main" id="{236D6B67-8859-4D14-8D36-57AD3CDFCE60}"/>
              </a:ext>
            </a:extLst>
          </p:cNvPr>
          <p:cNvGrpSpPr>
            <a:grpSpLocks/>
          </p:cNvGrpSpPr>
          <p:nvPr userDrawn="1"/>
        </p:nvGrpSpPr>
        <p:grpSpPr>
          <a:xfrm>
            <a:off x="10714588" y="263197"/>
            <a:ext cx="1218552" cy="375634"/>
            <a:chOff x="7241394" y="191294"/>
            <a:chExt cx="1717661" cy="529490"/>
          </a:xfrm>
        </p:grpSpPr>
        <p:sp>
          <p:nvSpPr>
            <p:cNvPr id="34" name="Rectangle 1069">
              <a:extLst>
                <a:ext uri="{FF2B5EF4-FFF2-40B4-BE49-F238E27FC236}">
                  <a16:creationId xmlns:a16="http://schemas.microsoft.com/office/drawing/2014/main" id="{C34C3477-2CA7-C5F8-1289-2B4A8105DAC1}"/>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35" name="AutoShape 4">
              <a:extLst>
                <a:ext uri="{FF2B5EF4-FFF2-40B4-BE49-F238E27FC236}">
                  <a16:creationId xmlns:a16="http://schemas.microsoft.com/office/drawing/2014/main" id="{7527B1D0-2307-66DE-91FC-EA71F979DF95}"/>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6" name="Freeform 6">
              <a:extLst>
                <a:ext uri="{FF2B5EF4-FFF2-40B4-BE49-F238E27FC236}">
                  <a16:creationId xmlns:a16="http://schemas.microsoft.com/office/drawing/2014/main" id="{8E5E75B6-DB75-08AE-0210-E571FB3DB9F6}"/>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37" name="Freeform 7">
              <a:extLst>
                <a:ext uri="{FF2B5EF4-FFF2-40B4-BE49-F238E27FC236}">
                  <a16:creationId xmlns:a16="http://schemas.microsoft.com/office/drawing/2014/main" id="{F746E98E-7788-D102-EE46-E91C5796503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38" name="Freeform 8">
              <a:extLst>
                <a:ext uri="{FF2B5EF4-FFF2-40B4-BE49-F238E27FC236}">
                  <a16:creationId xmlns:a16="http://schemas.microsoft.com/office/drawing/2014/main" id="{598249E0-258F-1305-9368-D29D8B279C6F}"/>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9" name="Freeform 9">
              <a:extLst>
                <a:ext uri="{FF2B5EF4-FFF2-40B4-BE49-F238E27FC236}">
                  <a16:creationId xmlns:a16="http://schemas.microsoft.com/office/drawing/2014/main" id="{3E1CFF12-5FFD-961F-E3FC-3B635E3E6181}"/>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0" name="Freeform 10">
              <a:extLst>
                <a:ext uri="{FF2B5EF4-FFF2-40B4-BE49-F238E27FC236}">
                  <a16:creationId xmlns:a16="http://schemas.microsoft.com/office/drawing/2014/main" id="{51BD0D83-1957-B102-7BC2-3E47C723D64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1" name="Freeform 11">
              <a:extLst>
                <a:ext uri="{FF2B5EF4-FFF2-40B4-BE49-F238E27FC236}">
                  <a16:creationId xmlns:a16="http://schemas.microsoft.com/office/drawing/2014/main" id="{27390908-F726-3296-7F50-BAA483FB6E4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43" name="Textplatzhalter 42">
            <a:extLst>
              <a:ext uri="{FF2B5EF4-FFF2-40B4-BE49-F238E27FC236}">
                <a16:creationId xmlns:a16="http://schemas.microsoft.com/office/drawing/2014/main" id="{27FA3290-6BBA-3C42-2248-FE21C17E3FF3}"/>
              </a:ext>
            </a:extLst>
          </p:cNvPr>
          <p:cNvSpPr>
            <a:spLocks noGrp="1"/>
          </p:cNvSpPr>
          <p:nvPr>
            <p:ph type="body" sz="quarter" idx="13" hasCustomPrompt="1"/>
          </p:nvPr>
        </p:nvSpPr>
        <p:spPr>
          <a:xfrm>
            <a:off x="266700" y="1268413"/>
            <a:ext cx="1166495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45" name="Textplatzhalter 36">
            <a:extLst>
              <a:ext uri="{FF2B5EF4-FFF2-40B4-BE49-F238E27FC236}">
                <a16:creationId xmlns:a16="http://schemas.microsoft.com/office/drawing/2014/main" id="{09B0263C-5E61-7A36-46B6-9B5549EFF622}"/>
              </a:ext>
            </a:extLst>
          </p:cNvPr>
          <p:cNvSpPr>
            <a:spLocks noGrp="1"/>
          </p:cNvSpPr>
          <p:nvPr>
            <p:ph type="body" sz="quarter" idx="14" hasCustomPrompt="1"/>
          </p:nvPr>
        </p:nvSpPr>
        <p:spPr>
          <a:xfrm>
            <a:off x="268288" y="264974"/>
            <a:ext cx="9682162" cy="215444"/>
          </a:xfrm>
        </p:spPr>
        <p:txBody>
          <a:bodyPr rtlCol="0">
            <a:spAutoFit/>
          </a:bodyPr>
          <a:lstStyle>
            <a:lvl1pPr rtl="0">
              <a:defRPr>
                <a:solidFill>
                  <a:schemeClr val="bg1"/>
                </a:solidFill>
              </a:defRPr>
            </a:lvl1pPr>
            <a:lvl5pPr>
              <a:defRPr/>
            </a:lvl5pPr>
          </a:lstStyle>
          <a:p>
            <a:pPr lvl="0" rtl="0"/>
            <a:r>
              <a:rPr lang="ro"/>
              <a:t>Topline, Arial Regular 14 pt</a:t>
            </a:r>
          </a:p>
        </p:txBody>
      </p:sp>
    </p:spTree>
    <p:custDataLst>
      <p:tags r:id="rId2"/>
    </p:custDataLst>
    <p:extLst>
      <p:ext uri="{BB962C8B-B14F-4D97-AF65-F5344CB8AC3E}">
        <p14:creationId xmlns:p14="http://schemas.microsoft.com/office/powerpoint/2010/main" val="262475504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slide headline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757429299"/>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048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26" name="Bildplatzhalter 25">
            <a:extLst>
              <a:ext uri="{FF2B5EF4-FFF2-40B4-BE49-F238E27FC236}">
                <a16:creationId xmlns:a16="http://schemas.microsoft.com/office/drawing/2014/main" id="{398E2361-6FE4-42FA-F2A0-F5C3243C8023}"/>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ro" noProof="0"/>
              <a:t>Please insert an image</a:t>
            </a:r>
            <a:br>
              <a:rPr lang="en-US" noProof="0"/>
            </a:br>
            <a:br>
              <a:rPr lang="en-US" noProof="0"/>
            </a:br>
            <a:br>
              <a:rPr lang="en-US" noProof="0"/>
            </a:br>
            <a:br>
              <a:rPr lang="en-US" noProof="0"/>
            </a:br>
            <a:endParaRPr lang="en-US"/>
          </a:p>
        </p:txBody>
      </p:sp>
      <p:sp>
        <p:nvSpPr>
          <p:cNvPr id="6" name="Titel 5">
            <a:extLst>
              <a:ext uri="{FF2B5EF4-FFF2-40B4-BE49-F238E27FC236}">
                <a16:creationId xmlns:a16="http://schemas.microsoft.com/office/drawing/2014/main" id="{05ABC2BC-0225-E0FE-E92B-382F454B0849}"/>
              </a:ext>
            </a:extLst>
          </p:cNvPr>
          <p:cNvSpPr>
            <a:spLocks noGrp="1"/>
          </p:cNvSpPr>
          <p:nvPr>
            <p:ph type="title" hasCustomPrompt="1"/>
          </p:nvPr>
        </p:nvSpPr>
        <p:spPr>
          <a:xfrm>
            <a:off x="268289" y="624807"/>
            <a:ext cx="9682162" cy="369332"/>
          </a:xfrm>
        </p:spPr>
        <p:txBody>
          <a:bodyPr vert="horz" rtlCol="0"/>
          <a:lstStyle>
            <a:lvl1pPr rtl="0">
              <a:defRPr/>
            </a:lvl1pPr>
          </a:lstStyle>
          <a:p>
            <a:pPr rtl="0"/>
            <a:r>
              <a:rPr lang="ro" noProof="0"/>
              <a:t>Content slide headline with picture, Arial Narrow 24 pt</a:t>
            </a:r>
            <a:endParaRPr lang="en-US"/>
          </a:p>
        </p:txBody>
      </p:sp>
      <p:sp>
        <p:nvSpPr>
          <p:cNvPr id="9" name="Textplatzhalter 8">
            <a:extLst>
              <a:ext uri="{FF2B5EF4-FFF2-40B4-BE49-F238E27FC236}">
                <a16:creationId xmlns:a16="http://schemas.microsoft.com/office/drawing/2014/main" id="{7CB54669-939B-3FA7-F373-3490F5E07106}"/>
              </a:ext>
            </a:extLst>
          </p:cNvPr>
          <p:cNvSpPr>
            <a:spLocks noGrp="1"/>
          </p:cNvSpPr>
          <p:nvPr>
            <p:ph type="body" sz="quarter" idx="13" hasCustomPrompt="1"/>
          </p:nvPr>
        </p:nvSpPr>
        <p:spPr>
          <a:xfrm>
            <a:off x="266700" y="1268413"/>
            <a:ext cx="11664950" cy="4860925"/>
          </a:xfrm>
        </p:spPr>
        <p:txBody>
          <a:bodyPr rtlCol="0"/>
          <a:lstStyle>
            <a:lvl1pPr rtl="0">
              <a:defRPr/>
            </a:lvl1pPr>
            <a:lvl2pPr rtl="0">
              <a:defRPr/>
            </a:lvl2pPr>
            <a:lvl3pPr rtl="0">
              <a:defRPr/>
            </a:lvl3pPr>
            <a:lvl4pPr rtl="0">
              <a:defRPr/>
            </a:lvl4pPr>
            <a:lvl5pPr rtl="0">
              <a:defRPr/>
            </a:lvl5pPr>
          </a:lstStyle>
          <a:p>
            <a:pPr lvl="0" rtl="0"/>
            <a:r>
              <a:rPr lang="ro" noProof="0"/>
              <a:t>Content text, Arial Regular 14 pt</a:t>
            </a:r>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p>
        </p:txBody>
      </p:sp>
      <p:sp>
        <p:nvSpPr>
          <p:cNvPr id="11" name="Textplatzhalter 10">
            <a:extLst>
              <a:ext uri="{FF2B5EF4-FFF2-40B4-BE49-F238E27FC236}">
                <a16:creationId xmlns:a16="http://schemas.microsoft.com/office/drawing/2014/main" id="{9D6B6110-3312-1933-4232-657BDD327846}"/>
              </a:ext>
            </a:extLst>
          </p:cNvPr>
          <p:cNvSpPr>
            <a:spLocks noGrp="1"/>
          </p:cNvSpPr>
          <p:nvPr>
            <p:ph type="body" sz="quarter" idx="14" hasCustomPrompt="1"/>
          </p:nvPr>
        </p:nvSpPr>
        <p:spPr>
          <a:xfrm>
            <a:off x="268288" y="264974"/>
            <a:ext cx="9682162" cy="215444"/>
          </a:xfrm>
        </p:spPr>
        <p:txBody>
          <a:bodyPr rtlCol="0">
            <a:spAutoFit/>
          </a:bodyPr>
          <a:lstStyle>
            <a:lvl1pPr rtl="0">
              <a:defRPr/>
            </a:lvl1pPr>
            <a:lvl5pPr>
              <a:defRPr/>
            </a:lvl5pPr>
          </a:lstStyle>
          <a:p>
            <a:pPr lvl="0" rtl="0"/>
            <a:r>
              <a:rPr lang="ro" noProof="0"/>
              <a:t>Topline, Arial Regular 14 pt</a:t>
            </a:r>
          </a:p>
        </p:txBody>
      </p:sp>
      <p:sp>
        <p:nvSpPr>
          <p:cNvPr id="3" name="Datumsplatzhalter 2">
            <a:extLst>
              <a:ext uri="{FF2B5EF4-FFF2-40B4-BE49-F238E27FC236}">
                <a16:creationId xmlns:a16="http://schemas.microsoft.com/office/drawing/2014/main" id="{92886868-F17A-6534-C015-3F4BD26CEF6D}"/>
              </a:ext>
            </a:extLst>
          </p:cNvPr>
          <p:cNvSpPr>
            <a:spLocks noGrp="1"/>
          </p:cNvSpPr>
          <p:nvPr>
            <p:ph type="dt" sz="half" idx="15"/>
          </p:nvPr>
        </p:nvSpPr>
        <p:spPr/>
        <p:txBody>
          <a:bodyPr rtlCol="0"/>
          <a:lstStyle/>
          <a:p>
            <a:pPr rtl="0"/>
            <a:endParaRPr lang="en-US"/>
          </a:p>
        </p:txBody>
      </p:sp>
      <p:sp>
        <p:nvSpPr>
          <p:cNvPr id="4" name="Fußzeilenplatzhalter 3">
            <a:extLst>
              <a:ext uri="{FF2B5EF4-FFF2-40B4-BE49-F238E27FC236}">
                <a16:creationId xmlns:a16="http://schemas.microsoft.com/office/drawing/2014/main" id="{CE46B98C-8CDA-964A-D440-F6D66F53523C}"/>
              </a:ext>
            </a:extLst>
          </p:cNvPr>
          <p:cNvSpPr>
            <a:spLocks noGrp="1"/>
          </p:cNvSpPr>
          <p:nvPr>
            <p:ph type="ftr" sz="quarter" idx="16"/>
          </p:nvPr>
        </p:nvSpPr>
        <p:spPr/>
        <p:txBody>
          <a:bodyPr rtlCol="0"/>
          <a:lstStyle/>
          <a:p>
            <a:pPr rtl="0"/>
            <a:endParaRPr lang="en-US"/>
          </a:p>
        </p:txBody>
      </p:sp>
      <p:sp>
        <p:nvSpPr>
          <p:cNvPr id="7" name="Foliennummernplatzhalter 6">
            <a:extLst>
              <a:ext uri="{FF2B5EF4-FFF2-40B4-BE49-F238E27FC236}">
                <a16:creationId xmlns:a16="http://schemas.microsoft.com/office/drawing/2014/main" id="{D0D134B4-257E-4AD0-ADCE-B9C7BAC2F2AB}"/>
              </a:ext>
            </a:extLst>
          </p:cNvPr>
          <p:cNvSpPr>
            <a:spLocks noGrp="1"/>
          </p:cNvSpPr>
          <p:nvPr>
            <p:ph type="sldNum" sz="quarter" idx="17"/>
          </p:nvPr>
        </p:nvSpPr>
        <p:spPr/>
        <p:txBody>
          <a:bodyPr rtlCol="0"/>
          <a:lstStyle/>
          <a:p>
            <a:pPr rtl="0"/>
            <a:r>
              <a:rPr lang="ro"/>
              <a:t>- </a:t>
            </a:r>
            <a:fld id="{94A6D44E-0BF8-4A10-A708-3AB32E33FA71}" type="slidenum">
              <a:rPr lang="en-US" smtClean="0"/>
              <a:pPr rtl="0"/>
              <a:t>‹nr.›</a:t>
            </a:fld>
            <a:r>
              <a:rPr lang="ro"/>
              <a:t> -</a:t>
            </a:r>
          </a:p>
        </p:txBody>
      </p:sp>
      <p:grpSp>
        <p:nvGrpSpPr>
          <p:cNvPr id="8" name="Gruppieren 7">
            <a:extLst>
              <a:ext uri="{FF2B5EF4-FFF2-40B4-BE49-F238E27FC236}">
                <a16:creationId xmlns:a16="http://schemas.microsoft.com/office/drawing/2014/main" id="{D4DFF1BC-1219-967B-9D36-8B1160266FB7}"/>
              </a:ext>
            </a:extLst>
          </p:cNvPr>
          <p:cNvGrpSpPr>
            <a:grpSpLocks/>
          </p:cNvGrpSpPr>
          <p:nvPr userDrawn="1"/>
        </p:nvGrpSpPr>
        <p:grpSpPr>
          <a:xfrm>
            <a:off x="10714588" y="263197"/>
            <a:ext cx="1218552" cy="375634"/>
            <a:chOff x="7241394" y="191294"/>
            <a:chExt cx="1717661" cy="529490"/>
          </a:xfrm>
        </p:grpSpPr>
        <p:sp>
          <p:nvSpPr>
            <p:cNvPr id="10" name="Rectangle 1069">
              <a:extLst>
                <a:ext uri="{FF2B5EF4-FFF2-40B4-BE49-F238E27FC236}">
                  <a16:creationId xmlns:a16="http://schemas.microsoft.com/office/drawing/2014/main" id="{18ACDE4F-F818-166D-C966-7280A5776BCB}"/>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9C99D0C0-04C4-831B-8D84-EA8DA9AFAF30}"/>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792E7BA9-1ADD-3C4F-7F11-F42E77CDB9C1}"/>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4" name="Freeform 7">
              <a:extLst>
                <a:ext uri="{FF2B5EF4-FFF2-40B4-BE49-F238E27FC236}">
                  <a16:creationId xmlns:a16="http://schemas.microsoft.com/office/drawing/2014/main" id="{16A3654B-CD52-0CDB-2475-AC89F1E14BD5}"/>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8">
              <a:extLst>
                <a:ext uri="{FF2B5EF4-FFF2-40B4-BE49-F238E27FC236}">
                  <a16:creationId xmlns:a16="http://schemas.microsoft.com/office/drawing/2014/main" id="{782EB882-3FCD-B7C0-2405-523B7EC341C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9">
              <a:extLst>
                <a:ext uri="{FF2B5EF4-FFF2-40B4-BE49-F238E27FC236}">
                  <a16:creationId xmlns:a16="http://schemas.microsoft.com/office/drawing/2014/main" id="{F1AD5021-DF8E-FF32-8229-8A78A0FF9826}"/>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10">
              <a:extLst>
                <a:ext uri="{FF2B5EF4-FFF2-40B4-BE49-F238E27FC236}">
                  <a16:creationId xmlns:a16="http://schemas.microsoft.com/office/drawing/2014/main" id="{4ADA2214-93D2-016C-B524-6957662BD06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11">
              <a:extLst>
                <a:ext uri="{FF2B5EF4-FFF2-40B4-BE49-F238E27FC236}">
                  <a16:creationId xmlns:a16="http://schemas.microsoft.com/office/drawing/2014/main" id="{82E7ABB9-97F1-760C-62EF-D4A2C918F9B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64342219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cture title slide with taped head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86417916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07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DE0ECA5-B005-8122-4C43-2D51893CA8A2}"/>
              </a:ext>
            </a:extLst>
          </p:cNvPr>
          <p:cNvSpPr>
            <a:spLocks noGrp="1"/>
          </p:cNvSpPr>
          <p:nvPr>
            <p:ph type="pic" sz="quarter" idx="14" hasCustomPrompt="1"/>
          </p:nvPr>
        </p:nvSpPr>
        <p:spPr>
          <a:xfrm>
            <a:off x="0" y="1"/>
            <a:ext cx="12198350" cy="6350001"/>
          </a:xfrm>
          <a:custGeom>
            <a:avLst/>
            <a:gdLst>
              <a:gd name="connsiteX0" fmla="*/ 10215479 w 12198350"/>
              <a:gd name="connsiteY0" fmla="*/ 263197 h 6350001"/>
              <a:gd name="connsiteX1" fmla="*/ 10215479 w 12198350"/>
              <a:gd name="connsiteY1" fmla="*/ 792687 h 6350001"/>
              <a:gd name="connsiteX2" fmla="*/ 11933140 w 12198350"/>
              <a:gd name="connsiteY2" fmla="*/ 792687 h 6350001"/>
              <a:gd name="connsiteX3" fmla="*/ 11933140 w 12198350"/>
              <a:gd name="connsiteY3" fmla="*/ 263197 h 6350001"/>
              <a:gd name="connsiteX4" fmla="*/ 0 w 12198350"/>
              <a:gd name="connsiteY4" fmla="*/ 0 h 6350001"/>
              <a:gd name="connsiteX5" fmla="*/ 12198350 w 12198350"/>
              <a:gd name="connsiteY5" fmla="*/ 0 h 6350001"/>
              <a:gd name="connsiteX6" fmla="*/ 12198350 w 12198350"/>
              <a:gd name="connsiteY6" fmla="*/ 6350001 h 6350001"/>
              <a:gd name="connsiteX7" fmla="*/ 0 w 12198350"/>
              <a:gd name="connsiteY7" fmla="*/ 6350001 h 63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0001">
                <a:moveTo>
                  <a:pt x="10215479" y="263197"/>
                </a:moveTo>
                <a:lnTo>
                  <a:pt x="10215479" y="792687"/>
                </a:lnTo>
                <a:lnTo>
                  <a:pt x="11933140" y="792687"/>
                </a:lnTo>
                <a:lnTo>
                  <a:pt x="11933140" y="263197"/>
                </a:lnTo>
                <a:close/>
                <a:moveTo>
                  <a:pt x="0" y="0"/>
                </a:moveTo>
                <a:lnTo>
                  <a:pt x="12198350" y="0"/>
                </a:lnTo>
                <a:lnTo>
                  <a:pt x="12198350" y="6350001"/>
                </a:lnTo>
                <a:lnTo>
                  <a:pt x="0" y="6350001"/>
                </a:lnTo>
                <a:close/>
              </a:path>
            </a:pathLst>
          </a:custGeom>
          <a:solidFill>
            <a:schemeClr val="bg2"/>
          </a:solidFill>
        </p:spPr>
        <p:txBody>
          <a:bodyPr wrap="square" rtlCol="0" anchor="ctr">
            <a:noAutofit/>
          </a:bodyPr>
          <a:lstStyle>
            <a:lvl1pPr marL="0" indent="0" algn="ctr" rtl="0">
              <a:buNone/>
              <a:defRPr b="0"/>
            </a:lvl1pPr>
          </a:lstStyle>
          <a:p>
            <a:pPr rtl="0"/>
            <a:r>
              <a:rPr lang="ro"/>
              <a:t>Please insert an image</a:t>
            </a:r>
            <a:br>
              <a:rPr lang="en-GB"/>
            </a:br>
            <a:br>
              <a:rPr lang="en-GB"/>
            </a:br>
            <a:br>
              <a:rPr lang="en-GB"/>
            </a:br>
            <a:br>
              <a:rPr lang="en-GB"/>
            </a:br>
            <a:endParaRPr lang="en-GB"/>
          </a:p>
        </p:txBody>
      </p:sp>
      <p:sp>
        <p:nvSpPr>
          <p:cNvPr id="4" name="Textplatzhalter 3"/>
          <p:cNvSpPr>
            <a:spLocks noGrp="1"/>
          </p:cNvSpPr>
          <p:nvPr userDrawn="1">
            <p:ph type="body" sz="quarter" idx="10" hasCustomPrompt="1"/>
          </p:nvPr>
        </p:nvSpPr>
        <p:spPr>
          <a:xfrm>
            <a:off x="519114" y="3249613"/>
            <a:ext cx="180476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ro" noProof="0"/>
              <a:t>Title slide</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63" name="AutoShape 4">
            <a:extLst>
              <a:ext uri="{FF2B5EF4-FFF2-40B4-BE49-F238E27FC236}">
                <a16:creationId xmlns:a16="http://schemas.microsoft.com/office/drawing/2014/main" id="{C61057D3-0CE5-4988-9DAB-FD7F8ACF02D8}"/>
              </a:ext>
            </a:extLst>
          </p:cNvPr>
          <p:cNvSpPr>
            <a:spLocks noChangeAspect="1" noChangeArrowheads="1" noTextEdit="1"/>
          </p:cNvSpPr>
          <p:nvPr/>
        </p:nvSpPr>
        <p:spPr bwMode="auto">
          <a:xfrm>
            <a:off x="10253602" y="1191509"/>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1" name="Textplatzhalter 3">
            <a:extLst>
              <a:ext uri="{FF2B5EF4-FFF2-40B4-BE49-F238E27FC236}">
                <a16:creationId xmlns:a16="http://schemas.microsoft.com/office/drawing/2014/main" id="{F6042C6F-E208-4A6E-8DF6-E59F83773764}"/>
              </a:ext>
            </a:extLst>
          </p:cNvPr>
          <p:cNvSpPr>
            <a:spLocks noGrp="1"/>
          </p:cNvSpPr>
          <p:nvPr>
            <p:ph type="body" sz="quarter" idx="12" hasCustomPrompt="1"/>
          </p:nvPr>
        </p:nvSpPr>
        <p:spPr>
          <a:xfrm>
            <a:off x="519114" y="3948314"/>
            <a:ext cx="3473809"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ro" noProof="0"/>
              <a:t>with taped headline</a:t>
            </a:r>
          </a:p>
        </p:txBody>
      </p:sp>
      <p:sp>
        <p:nvSpPr>
          <p:cNvPr id="72" name="Textplatzhalter 3">
            <a:extLst>
              <a:ext uri="{FF2B5EF4-FFF2-40B4-BE49-F238E27FC236}">
                <a16:creationId xmlns:a16="http://schemas.microsoft.com/office/drawing/2014/main" id="{E9523CF2-ECB7-4E80-BFDF-D7996244C039}"/>
              </a:ext>
            </a:extLst>
          </p:cNvPr>
          <p:cNvSpPr>
            <a:spLocks noGrp="1"/>
          </p:cNvSpPr>
          <p:nvPr>
            <p:ph type="body" sz="quarter" idx="13" hasCustomPrompt="1"/>
          </p:nvPr>
        </p:nvSpPr>
        <p:spPr>
          <a:xfrm>
            <a:off x="519114" y="4647015"/>
            <a:ext cx="324618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ro" noProof="0"/>
              <a:t>Arial Narrow 36 pt</a:t>
            </a:r>
          </a:p>
        </p:txBody>
      </p:sp>
      <p:sp>
        <p:nvSpPr>
          <p:cNvPr id="61" name="Textplatzhalter 5">
            <a:extLst>
              <a:ext uri="{FF2B5EF4-FFF2-40B4-BE49-F238E27FC236}">
                <a16:creationId xmlns:a16="http://schemas.microsoft.com/office/drawing/2014/main" id="{99F39292-0B4C-42C7-B3B4-D910E7005C8E}"/>
              </a:ext>
            </a:extLst>
          </p:cNvPr>
          <p:cNvSpPr>
            <a:spLocks noGrp="1"/>
          </p:cNvSpPr>
          <p:nvPr>
            <p:ph type="body" sz="quarter" idx="15" hasCustomPrompt="1"/>
          </p:nvPr>
        </p:nvSpPr>
        <p:spPr>
          <a:xfrm>
            <a:off x="519113" y="5884669"/>
            <a:ext cx="11414027" cy="246221"/>
          </a:xfrm>
        </p:spPr>
        <p:txBody>
          <a:bodyPr rtlCol="0">
            <a:spAutoFit/>
          </a:bodyPr>
          <a:lstStyle>
            <a:lvl1pPr marL="0" indent="0" rtl="0">
              <a:buNone/>
              <a:defRPr sz="1600" b="0" baseline="0">
                <a:solidFill>
                  <a:schemeClr val="tx1"/>
                </a:solidFill>
              </a:defRPr>
            </a:lvl1pPr>
          </a:lstStyle>
          <a:p>
            <a:pPr lvl="0" rtl="0"/>
            <a:r>
              <a:rPr lang="ro" noProof="0"/>
              <a:t>Subheading, Arial Regular 16 pt</a:t>
            </a:r>
            <a:endParaRPr lang="en-GB" noProof="0"/>
          </a:p>
        </p:txBody>
      </p:sp>
      <p:sp>
        <p:nvSpPr>
          <p:cNvPr id="3" name="Rechteck 2">
            <a:extLst>
              <a:ext uri="{FF2B5EF4-FFF2-40B4-BE49-F238E27FC236}">
                <a16:creationId xmlns:a16="http://schemas.microsoft.com/office/drawing/2014/main" id="{775F36B1-C5EC-DC3C-AD2A-844FA1E10D2B}"/>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 name="Rechteck 4">
            <a:extLst>
              <a:ext uri="{FF2B5EF4-FFF2-40B4-BE49-F238E27FC236}">
                <a16:creationId xmlns:a16="http://schemas.microsoft.com/office/drawing/2014/main" id="{3ADA3677-3458-28C9-C739-703198E1D90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3071683141"/>
      </p:ext>
    </p:extLst>
  </p:cSld>
  <p:clrMapOvr>
    <a:masterClrMapping/>
  </p:clrMapOvr>
  <p:extLst>
    <p:ext uri="{DCECCB84-F9BA-43D5-87BE-67443E8EF086}">
      <p15:sldGuideLst xmlns:p15="http://schemas.microsoft.com/office/powerpoint/2012/main">
        <p15:guide id="1" pos="327">
          <p15:clr>
            <a:srgbClr val="FBAE40"/>
          </p15:clr>
        </p15:guide>
        <p15:guide id="2" orient="horz" pos="20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size picture w/o 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55783677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151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7" name="Bildplatzhalter 46">
            <a:extLst>
              <a:ext uri="{FF2B5EF4-FFF2-40B4-BE49-F238E27FC236}">
                <a16:creationId xmlns:a16="http://schemas.microsoft.com/office/drawing/2014/main" id="{77AF5D23-1B27-E064-D553-AE08CABFBB57}"/>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ro"/>
              <a:t>Please insert an image</a:t>
            </a:r>
            <a:br>
              <a:rPr lang="en-US" noProof="0"/>
            </a:br>
            <a:br>
              <a:rPr lang="en-US" noProof="0"/>
            </a:br>
            <a:br>
              <a:rPr lang="en-US" noProof="0"/>
            </a:br>
            <a:br>
              <a:rPr lang="en-US" noProof="0"/>
            </a:br>
            <a:endParaRPr lang="en-US"/>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 name="Datumsplatzhalter 2">
            <a:extLst>
              <a:ext uri="{FF2B5EF4-FFF2-40B4-BE49-F238E27FC236}">
                <a16:creationId xmlns:a16="http://schemas.microsoft.com/office/drawing/2014/main" id="{B01B7D06-BB61-961C-BB36-D84EBC23A882}"/>
              </a:ext>
            </a:extLst>
          </p:cNvPr>
          <p:cNvSpPr>
            <a:spLocks noGrp="1"/>
          </p:cNvSpPr>
          <p:nvPr>
            <p:ph type="dt" sz="half" idx="13"/>
          </p:nvPr>
        </p:nvSpPr>
        <p:spPr/>
        <p:txBody>
          <a:bodyPr rtlCol="0"/>
          <a:lstStyle/>
          <a:p>
            <a:pPr rtl="0"/>
            <a:endParaRPr lang="en-US"/>
          </a:p>
        </p:txBody>
      </p:sp>
      <p:sp>
        <p:nvSpPr>
          <p:cNvPr id="4" name="Fußzeilenplatzhalter 3">
            <a:extLst>
              <a:ext uri="{FF2B5EF4-FFF2-40B4-BE49-F238E27FC236}">
                <a16:creationId xmlns:a16="http://schemas.microsoft.com/office/drawing/2014/main" id="{E4362E4D-60AF-115B-674D-7F8D0698D297}"/>
              </a:ext>
            </a:extLst>
          </p:cNvPr>
          <p:cNvSpPr>
            <a:spLocks noGrp="1"/>
          </p:cNvSpPr>
          <p:nvPr>
            <p:ph type="ftr" sz="quarter" idx="14"/>
          </p:nvPr>
        </p:nvSpPr>
        <p:spPr/>
        <p:txBody>
          <a:bodyPr rtlCol="0"/>
          <a:lstStyle/>
          <a:p>
            <a:pPr rtl="0"/>
            <a:endParaRPr lang="en-US"/>
          </a:p>
        </p:txBody>
      </p:sp>
      <p:sp>
        <p:nvSpPr>
          <p:cNvPr id="6" name="Foliennummernplatzhalter 5">
            <a:extLst>
              <a:ext uri="{FF2B5EF4-FFF2-40B4-BE49-F238E27FC236}">
                <a16:creationId xmlns:a16="http://schemas.microsoft.com/office/drawing/2014/main" id="{13DD0AC6-2D84-E35E-7E87-608C6D2188F5}"/>
              </a:ext>
            </a:extLst>
          </p:cNvPr>
          <p:cNvSpPr>
            <a:spLocks noGrp="1"/>
          </p:cNvSpPr>
          <p:nvPr>
            <p:ph type="sldNum" sz="quarter" idx="15"/>
          </p:nvPr>
        </p:nvSpPr>
        <p:spPr/>
        <p:txBody>
          <a:bodyPr rtlCol="0"/>
          <a:lstStyle/>
          <a:p>
            <a:pPr rtl="0"/>
            <a:r>
              <a:rPr lang="ro"/>
              <a:t>- </a:t>
            </a:r>
            <a:fld id="{94A6D44E-0BF8-4A10-A708-3AB32E33FA71}" type="slidenum">
              <a:rPr lang="en-US" smtClean="0"/>
              <a:t>‹nr.›</a:t>
            </a:fld>
            <a:r>
              <a:rPr lang="ro"/>
              <a:t> -</a:t>
            </a:r>
          </a:p>
        </p:txBody>
      </p:sp>
      <p:grpSp>
        <p:nvGrpSpPr>
          <p:cNvPr id="30" name="Gruppieren 29">
            <a:extLst>
              <a:ext uri="{FF2B5EF4-FFF2-40B4-BE49-F238E27FC236}">
                <a16:creationId xmlns:a16="http://schemas.microsoft.com/office/drawing/2014/main" id="{EB069002-28BC-415C-3010-8C3F4A1E0D16}"/>
              </a:ext>
            </a:extLst>
          </p:cNvPr>
          <p:cNvGrpSpPr>
            <a:grpSpLocks/>
          </p:cNvGrpSpPr>
          <p:nvPr userDrawn="1"/>
        </p:nvGrpSpPr>
        <p:grpSpPr>
          <a:xfrm>
            <a:off x="10714588" y="263197"/>
            <a:ext cx="1218552" cy="375634"/>
            <a:chOff x="7241394" y="191294"/>
            <a:chExt cx="1717661" cy="529490"/>
          </a:xfrm>
        </p:grpSpPr>
        <p:sp>
          <p:nvSpPr>
            <p:cNvPr id="31" name="Rectangle 1069">
              <a:extLst>
                <a:ext uri="{FF2B5EF4-FFF2-40B4-BE49-F238E27FC236}">
                  <a16:creationId xmlns:a16="http://schemas.microsoft.com/office/drawing/2014/main" id="{1A161E79-0720-C382-B7BB-08BB3888736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32" name="AutoShape 4">
              <a:extLst>
                <a:ext uri="{FF2B5EF4-FFF2-40B4-BE49-F238E27FC236}">
                  <a16:creationId xmlns:a16="http://schemas.microsoft.com/office/drawing/2014/main" id="{43D19308-F64D-F3AE-E7A7-F3689FA603B4}"/>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3" name="Freeform 6">
              <a:extLst>
                <a:ext uri="{FF2B5EF4-FFF2-40B4-BE49-F238E27FC236}">
                  <a16:creationId xmlns:a16="http://schemas.microsoft.com/office/drawing/2014/main" id="{D8556E10-3FFA-533A-3FF5-7DD47A2AD387}"/>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39" name="Freeform 7">
              <a:extLst>
                <a:ext uri="{FF2B5EF4-FFF2-40B4-BE49-F238E27FC236}">
                  <a16:creationId xmlns:a16="http://schemas.microsoft.com/office/drawing/2014/main" id="{B5E68804-1222-863D-EF94-605B0A9608C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0" name="Freeform 8">
              <a:extLst>
                <a:ext uri="{FF2B5EF4-FFF2-40B4-BE49-F238E27FC236}">
                  <a16:creationId xmlns:a16="http://schemas.microsoft.com/office/drawing/2014/main" id="{F75B368E-86FC-B2DA-B46C-2D75BB9134B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1" name="Freeform 9">
              <a:extLst>
                <a:ext uri="{FF2B5EF4-FFF2-40B4-BE49-F238E27FC236}">
                  <a16:creationId xmlns:a16="http://schemas.microsoft.com/office/drawing/2014/main" id="{EFD627CA-1032-1861-62BF-6B07E04BA3EA}"/>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2" name="Freeform 10">
              <a:extLst>
                <a:ext uri="{FF2B5EF4-FFF2-40B4-BE49-F238E27FC236}">
                  <a16:creationId xmlns:a16="http://schemas.microsoft.com/office/drawing/2014/main" id="{44F51552-8DF2-4E15-DC16-73F8047E2165}"/>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3" name="Freeform 11">
              <a:extLst>
                <a:ext uri="{FF2B5EF4-FFF2-40B4-BE49-F238E27FC236}">
                  <a16:creationId xmlns:a16="http://schemas.microsoft.com/office/drawing/2014/main" id="{4214316D-9713-1B46-6437-900AFFAEEB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80317741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557144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5"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US" smtClean="0"/>
              <a:pPr rtl="0"/>
              <a:t>‹nr.›</a:t>
            </a:fld>
            <a:r>
              <a:rPr lang="ro"/>
              <a:t> -</a:t>
            </a:r>
          </a:p>
        </p:txBody>
      </p:sp>
      <p:sp>
        <p:nvSpPr>
          <p:cNvPr id="7" name="Textplatzhalter 6"/>
          <p:cNvSpPr>
            <a:spLocks noGrp="1"/>
          </p:cNvSpPr>
          <p:nvPr>
            <p:ph type="body" sz="quarter" idx="13" hasCustomPrompt="1"/>
          </p:nvPr>
        </p:nvSpPr>
        <p:spPr>
          <a:xfrm>
            <a:off x="268288" y="264974"/>
            <a:ext cx="9682161" cy="215444"/>
          </a:xfrm>
        </p:spPr>
        <p:txBody>
          <a:bodyPr wrap="square" lIns="0" tIns="0" rIns="0" bIns="0" rtlCol="0">
            <a:spAutoFit/>
          </a:bodyPr>
          <a:lstStyle>
            <a:lvl1pPr marL="0" indent="0" rtl="0">
              <a:buFont typeface="Arial" panose="020B0604020202020204" pitchFamily="34" charset="0"/>
              <a:buNone/>
              <a:defRPr baseline="0"/>
            </a:lvl1pPr>
          </a:lstStyle>
          <a:p>
            <a:pPr lvl="0" rtl="0"/>
            <a:r>
              <a:rPr lang="ro" noProof="0"/>
              <a:t>Topline, Arial Regular 14 pt</a:t>
            </a:r>
          </a:p>
        </p:txBody>
      </p:sp>
      <p:sp>
        <p:nvSpPr>
          <p:cNvPr id="11" name="Inhaltsplatzhalter 10"/>
          <p:cNvSpPr>
            <a:spLocks noGrp="1"/>
          </p:cNvSpPr>
          <p:nvPr>
            <p:ph sz="quarter" idx="14" hasCustomPrompt="1"/>
          </p:nvPr>
        </p:nvSpPr>
        <p:spPr>
          <a:xfrm>
            <a:off x="269877" y="1270158"/>
            <a:ext cx="11661773"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ro" noProof="0"/>
              <a:t>Content text, Arial Regular 14 pt</a:t>
            </a:r>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588456"/>
            <a:ext cx="6104914" cy="442035"/>
          </a:xfrm>
          <a:solidFill>
            <a:schemeClr val="accent5"/>
          </a:solidFill>
        </p:spPr>
        <p:txBody>
          <a:bodyPr vert="horz" wrap="none" lIns="108000" tIns="36000" rIns="108000" bIns="36000" rtlCol="0"/>
          <a:lstStyle>
            <a:lvl1pPr rtl="0">
              <a:defRPr>
                <a:solidFill>
                  <a:schemeClr val="bg1"/>
                </a:solidFill>
              </a:defRPr>
            </a:lvl1pPr>
          </a:lstStyle>
          <a:p>
            <a:pPr rtl="0"/>
            <a:r>
              <a:rPr lang="ro"/>
              <a:t>Content slide with taped headline,</a:t>
            </a:r>
            <a:r>
              <a:rPr lang="ro" noProof="0"/>
              <a:t> Arial Narrow 24 pt</a:t>
            </a:r>
          </a:p>
        </p:txBody>
      </p:sp>
    </p:spTree>
    <p:custDataLst>
      <p:tags r:id="rId2"/>
    </p:custDataLst>
    <p:extLst>
      <p:ext uri="{BB962C8B-B14F-4D97-AF65-F5344CB8AC3E}">
        <p14:creationId xmlns:p14="http://schemas.microsoft.com/office/powerpoint/2010/main" val="415999664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and two box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24828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9"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US" smtClean="0"/>
              <a:pPr rtl="0"/>
              <a:t>‹nr.›</a:t>
            </a:fld>
            <a:r>
              <a:rPr lang="ro"/>
              <a:t> -</a:t>
            </a:r>
          </a:p>
        </p:txBody>
      </p:sp>
      <p:sp>
        <p:nvSpPr>
          <p:cNvPr id="7" name="Textplatzhalter 6"/>
          <p:cNvSpPr>
            <a:spLocks noGrp="1"/>
          </p:cNvSpPr>
          <p:nvPr>
            <p:ph type="body" sz="quarter" idx="13" hasCustomPrompt="1"/>
          </p:nvPr>
        </p:nvSpPr>
        <p:spPr>
          <a:xfrm>
            <a:off x="268288" y="264974"/>
            <a:ext cx="9682161" cy="215444"/>
          </a:xfrm>
        </p:spPr>
        <p:txBody>
          <a:bodyPr wrap="square" lIns="0" tIns="0" rIns="0" bIns="0" rtlCol="0">
            <a:spAutoFit/>
          </a:bodyPr>
          <a:lstStyle>
            <a:lvl1pPr marL="0" indent="0" rtl="0">
              <a:buFont typeface="Arial" panose="020B0604020202020204" pitchFamily="34" charset="0"/>
              <a:buNone/>
              <a:defRPr baseline="0"/>
            </a:lvl1pPr>
          </a:lstStyle>
          <a:p>
            <a:pPr lvl="0" rtl="0"/>
            <a:r>
              <a:rPr lang="ro" noProof="0"/>
              <a:t>Topline, Arial Regular 14 pt</a:t>
            </a:r>
          </a:p>
        </p:txBody>
      </p:sp>
      <p:sp>
        <p:nvSpPr>
          <p:cNvPr id="11" name="Inhaltsplatzhalter 10"/>
          <p:cNvSpPr>
            <a:spLocks noGrp="1"/>
          </p:cNvSpPr>
          <p:nvPr>
            <p:ph sz="quarter" idx="14" hasCustomPrompt="1"/>
          </p:nvPr>
        </p:nvSpPr>
        <p:spPr>
          <a:xfrm>
            <a:off x="269877" y="1270158"/>
            <a:ext cx="5759449"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ro" noProof="0"/>
              <a:t>Content text, Arial Regular 14 pt</a:t>
            </a:r>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588456"/>
            <a:ext cx="7739977" cy="442035"/>
          </a:xfrm>
          <a:solidFill>
            <a:schemeClr val="accent5"/>
          </a:solidFill>
        </p:spPr>
        <p:txBody>
          <a:bodyPr vert="horz" wrap="none" lIns="108000" tIns="36000" rIns="108000" bIns="36000" rtlCol="0"/>
          <a:lstStyle>
            <a:lvl1pPr rtl="0">
              <a:defRPr>
                <a:solidFill>
                  <a:schemeClr val="bg1"/>
                </a:solidFill>
              </a:defRPr>
            </a:lvl1pPr>
          </a:lstStyle>
          <a:p>
            <a:pPr rtl="0"/>
            <a:r>
              <a:rPr lang="ro"/>
              <a:t>Content slide with taped headline and two boxes,</a:t>
            </a:r>
            <a:r>
              <a:rPr lang="ro" noProof="0"/>
              <a:t> Arial Narrow 24 pt</a:t>
            </a:r>
          </a:p>
        </p:txBody>
      </p:sp>
      <p:sp>
        <p:nvSpPr>
          <p:cNvPr id="9" name="Inhaltsplatzhalter 8">
            <a:extLst>
              <a:ext uri="{FF2B5EF4-FFF2-40B4-BE49-F238E27FC236}">
                <a16:creationId xmlns:a16="http://schemas.microsoft.com/office/drawing/2014/main" id="{47FBEEAF-F9D0-4863-882A-E0B209884539}"/>
              </a:ext>
            </a:extLst>
          </p:cNvPr>
          <p:cNvSpPr>
            <a:spLocks noGrp="1"/>
          </p:cNvSpPr>
          <p:nvPr>
            <p:ph sz="quarter" idx="15" hasCustomPrompt="1"/>
          </p:nvPr>
        </p:nvSpPr>
        <p:spPr>
          <a:xfrm>
            <a:off x="6207125" y="1270158"/>
            <a:ext cx="5724525" cy="5076825"/>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ro" noProof="0"/>
              <a:t>Content text, Arial Regular 14 pt</a:t>
            </a:r>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p>
          <a:p>
            <a:pPr lvl="4" rtl="0"/>
            <a:endParaRPr lang="en-US"/>
          </a:p>
        </p:txBody>
      </p:sp>
    </p:spTree>
    <p:custDataLst>
      <p:tags r:id="rId2"/>
    </p:custDataLst>
    <p:extLst>
      <p:ext uri="{BB962C8B-B14F-4D97-AF65-F5344CB8AC3E}">
        <p14:creationId xmlns:p14="http://schemas.microsoft.com/office/powerpoint/2010/main" val="989736873"/>
      </p:ext>
    </p:extLst>
  </p:cSld>
  <p:clrMapOvr>
    <a:masterClrMapping/>
  </p:clrMapOvr>
  <p:extLst>
    <p:ext uri="{DCECCB84-F9BA-43D5-87BE-67443E8EF086}">
      <p15:sldGuideLst xmlns:p15="http://schemas.microsoft.com/office/powerpoint/2012/main">
        <p15:guide id="1" pos="3797" userDrawn="1">
          <p15:clr>
            <a:srgbClr val="FBAE40"/>
          </p15:clr>
        </p15:guide>
        <p15:guide id="2" pos="391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ly title with taped headlin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52961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US" smtClean="0"/>
              <a:t>‹nr.›</a:t>
            </a:fld>
            <a:r>
              <a:rPr lang="ro"/>
              <a:t> -</a:t>
            </a:r>
          </a:p>
        </p:txBody>
      </p:sp>
      <p:sp>
        <p:nvSpPr>
          <p:cNvPr id="7" name="Textplatzhalter 6"/>
          <p:cNvSpPr>
            <a:spLocks noGrp="1"/>
          </p:cNvSpPr>
          <p:nvPr>
            <p:ph type="body" sz="quarter" idx="13" hasCustomPrompt="1"/>
          </p:nvPr>
        </p:nvSpPr>
        <p:spPr>
          <a:xfrm>
            <a:off x="268288" y="264974"/>
            <a:ext cx="9682161" cy="215444"/>
          </a:xfrm>
        </p:spPr>
        <p:txBody>
          <a:bodyPr wrap="square" lIns="0" tIns="0" rIns="0" bIns="0" rtlCol="0">
            <a:spAutoFit/>
          </a:bodyPr>
          <a:lstStyle>
            <a:lvl1pPr marL="0" indent="0" rtl="0">
              <a:buFont typeface="Arial" panose="020B0604020202020204" pitchFamily="34" charset="0"/>
              <a:buNone/>
              <a:defRPr baseline="0"/>
            </a:lvl1pPr>
          </a:lstStyle>
          <a:p>
            <a:pPr lvl="0" rtl="0"/>
            <a:r>
              <a:rPr lang="ro"/>
              <a:t>Topline, Arial Regular 14 pt</a:t>
            </a:r>
          </a:p>
        </p:txBody>
      </p:sp>
      <p:sp>
        <p:nvSpPr>
          <p:cNvPr id="6" name="Titel 5">
            <a:extLst>
              <a:ext uri="{FF2B5EF4-FFF2-40B4-BE49-F238E27FC236}">
                <a16:creationId xmlns:a16="http://schemas.microsoft.com/office/drawing/2014/main" id="{2B07B292-2432-43AE-A9DC-E57B6304BACB}"/>
              </a:ext>
            </a:extLst>
          </p:cNvPr>
          <p:cNvSpPr>
            <a:spLocks noGrp="1"/>
          </p:cNvSpPr>
          <p:nvPr>
            <p:ph type="title" hasCustomPrompt="1"/>
          </p:nvPr>
        </p:nvSpPr>
        <p:spPr>
          <a:xfrm>
            <a:off x="268289" y="588456"/>
            <a:ext cx="5822785" cy="442035"/>
          </a:xfrm>
          <a:solidFill>
            <a:schemeClr val="accent5"/>
          </a:solidFill>
        </p:spPr>
        <p:txBody>
          <a:bodyPr vert="horz" wrap="none" lIns="108000" tIns="36000" rIns="108000" bIns="36000" rtlCol="0"/>
          <a:lstStyle>
            <a:lvl1pPr rtl="0">
              <a:defRPr>
                <a:solidFill>
                  <a:schemeClr val="bg1"/>
                </a:solidFill>
              </a:defRPr>
            </a:lvl1pPr>
          </a:lstStyle>
          <a:p>
            <a:pPr rtl="0"/>
            <a:r>
              <a:rPr lang="ro"/>
              <a:t>Only title with taped headline, Arial Narrow 24 pt</a:t>
            </a:r>
          </a:p>
        </p:txBody>
      </p:sp>
    </p:spTree>
    <p:custDataLst>
      <p:tags r:id="rId2"/>
    </p:custDataLst>
    <p:extLst>
      <p:ext uri="{BB962C8B-B14F-4D97-AF65-F5344CB8AC3E}">
        <p14:creationId xmlns:p14="http://schemas.microsoft.com/office/powerpoint/2010/main" val="20706089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and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08980543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560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2" name="Bildplatzhalter 51">
            <a:extLst>
              <a:ext uri="{FF2B5EF4-FFF2-40B4-BE49-F238E27FC236}">
                <a16:creationId xmlns:a16="http://schemas.microsoft.com/office/drawing/2014/main" id="{86494D7F-9370-56A6-30B0-AE6FE068BBFB}"/>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ro"/>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588456"/>
            <a:ext cx="7570058" cy="442035"/>
          </a:xfrm>
          <a:solidFill>
            <a:schemeClr val="accent5"/>
          </a:solidFill>
        </p:spPr>
        <p:txBody>
          <a:bodyPr vert="horz" wrap="none" lIns="108000" tIns="36000" rIns="108000" bIns="36000" rtlCol="0"/>
          <a:lstStyle>
            <a:lvl1pPr rtl="0">
              <a:defRPr>
                <a:solidFill>
                  <a:schemeClr val="bg1"/>
                </a:solidFill>
              </a:defRPr>
            </a:lvl1pPr>
          </a:lstStyle>
          <a:p>
            <a:pPr rtl="0"/>
            <a:r>
              <a:rPr lang="ro"/>
              <a:t>Content slide with taped headline and picture, Arial Narrow 24 pt</a:t>
            </a:r>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11664950" cy="4860925"/>
          </a:xfrm>
        </p:spPr>
        <p:txBody>
          <a:bodyPr rtlCol="0"/>
          <a:lstStyle>
            <a:lvl1pPr rtl="0">
              <a:defRPr/>
            </a:lvl1pPr>
            <a:lvl2pPr rtl="0">
              <a:defRPr/>
            </a:lvl2pPr>
            <a:lvl3pPr rtl="0">
              <a:defRPr/>
            </a:lvl3pPr>
            <a:lvl4pPr rtl="0">
              <a:defRPr/>
            </a:lvl4pPr>
            <a:lvl5pPr rtl="0">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8" y="264974"/>
            <a:ext cx="9682162" cy="215444"/>
          </a:xfrm>
        </p:spPr>
        <p:txBody>
          <a:bodyPr rtlCol="0">
            <a:spAutoFit/>
          </a:bodyPr>
          <a:lstStyle>
            <a:lvl1pPr rtl="0">
              <a:defRPr/>
            </a:lvl1pPr>
          </a:lstStyle>
          <a:p>
            <a:pPr lvl="0" rtl="0"/>
            <a:r>
              <a:rPr lang="ro"/>
              <a:t>Topline, Arial Regular 14 pt</a:t>
            </a:r>
          </a:p>
        </p:txBody>
      </p:sp>
      <p:sp>
        <p:nvSpPr>
          <p:cNvPr id="3" name="Datumsplatzhalter 2">
            <a:extLst>
              <a:ext uri="{FF2B5EF4-FFF2-40B4-BE49-F238E27FC236}">
                <a16:creationId xmlns:a16="http://schemas.microsoft.com/office/drawing/2014/main" id="{09E1534E-F360-569A-8010-0FFE2661EBF3}"/>
              </a:ext>
            </a:extLst>
          </p:cNvPr>
          <p:cNvSpPr>
            <a:spLocks noGrp="1"/>
          </p:cNvSpPr>
          <p:nvPr>
            <p:ph type="dt" sz="half" idx="15"/>
          </p:nvPr>
        </p:nvSpPr>
        <p:spPr/>
        <p:txBody>
          <a:bodyPr rtlCol="0"/>
          <a:lstStyle/>
          <a:p>
            <a:pPr rtl="0"/>
            <a:endParaRPr lang="en-US"/>
          </a:p>
        </p:txBody>
      </p:sp>
      <p:sp>
        <p:nvSpPr>
          <p:cNvPr id="6" name="Fußzeilenplatzhalter 5">
            <a:extLst>
              <a:ext uri="{FF2B5EF4-FFF2-40B4-BE49-F238E27FC236}">
                <a16:creationId xmlns:a16="http://schemas.microsoft.com/office/drawing/2014/main" id="{7D0C95D3-F038-4937-C35D-FA9331F7F233}"/>
              </a:ext>
            </a:extLst>
          </p:cNvPr>
          <p:cNvSpPr>
            <a:spLocks noGrp="1"/>
          </p:cNvSpPr>
          <p:nvPr>
            <p:ph type="ftr" sz="quarter" idx="16"/>
          </p:nvPr>
        </p:nvSpPr>
        <p:spPr/>
        <p:txBody>
          <a:bodyPr rtlCol="0"/>
          <a:lstStyle/>
          <a:p>
            <a:pPr rtl="0"/>
            <a:endParaRPr lang="en-US"/>
          </a:p>
        </p:txBody>
      </p:sp>
      <p:sp>
        <p:nvSpPr>
          <p:cNvPr id="8" name="Foliennummernplatzhalter 7">
            <a:extLst>
              <a:ext uri="{FF2B5EF4-FFF2-40B4-BE49-F238E27FC236}">
                <a16:creationId xmlns:a16="http://schemas.microsoft.com/office/drawing/2014/main" id="{20E8F808-458D-173F-E1FD-1BEAF594105A}"/>
              </a:ext>
            </a:extLst>
          </p:cNvPr>
          <p:cNvSpPr>
            <a:spLocks noGrp="1"/>
          </p:cNvSpPr>
          <p:nvPr>
            <p:ph type="sldNum" sz="quarter" idx="17"/>
          </p:nvPr>
        </p:nvSpPr>
        <p:spPr/>
        <p:txBody>
          <a:bodyPr rtlCol="0"/>
          <a:lstStyle/>
          <a:p>
            <a:pPr rtl="0"/>
            <a:r>
              <a:rPr lang="ro"/>
              <a:t>- </a:t>
            </a:r>
            <a:fld id="{94A6D44E-0BF8-4A10-A708-3AB32E33FA71}" type="slidenum">
              <a:rPr lang="en-US" smtClean="0"/>
              <a:t>‹nr.›</a:t>
            </a:fld>
            <a:r>
              <a:rPr lang="ro"/>
              <a:t> -</a:t>
            </a:r>
          </a:p>
        </p:txBody>
      </p:sp>
      <p:grpSp>
        <p:nvGrpSpPr>
          <p:cNvPr id="40" name="Gruppieren 39">
            <a:extLst>
              <a:ext uri="{FF2B5EF4-FFF2-40B4-BE49-F238E27FC236}">
                <a16:creationId xmlns:a16="http://schemas.microsoft.com/office/drawing/2014/main" id="{C2FFF9F6-30D7-B5EA-2493-FD461BEA7577}"/>
              </a:ext>
            </a:extLst>
          </p:cNvPr>
          <p:cNvGrpSpPr>
            <a:grpSpLocks/>
          </p:cNvGrpSpPr>
          <p:nvPr userDrawn="1"/>
        </p:nvGrpSpPr>
        <p:grpSpPr>
          <a:xfrm>
            <a:off x="10714588" y="263197"/>
            <a:ext cx="1218552" cy="375634"/>
            <a:chOff x="7241394" y="191294"/>
            <a:chExt cx="1717661" cy="529490"/>
          </a:xfrm>
        </p:grpSpPr>
        <p:sp>
          <p:nvSpPr>
            <p:cNvPr id="41" name="Rectangle 1069">
              <a:extLst>
                <a:ext uri="{FF2B5EF4-FFF2-40B4-BE49-F238E27FC236}">
                  <a16:creationId xmlns:a16="http://schemas.microsoft.com/office/drawing/2014/main" id="{CB40E35C-A0DA-FC69-3502-8A6C6DB6BBC4}"/>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42" name="AutoShape 4">
              <a:extLst>
                <a:ext uri="{FF2B5EF4-FFF2-40B4-BE49-F238E27FC236}">
                  <a16:creationId xmlns:a16="http://schemas.microsoft.com/office/drawing/2014/main" id="{D6FCB538-EEBF-433E-A5CA-4D1C7009CE52}"/>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3" name="Freeform 6">
              <a:extLst>
                <a:ext uri="{FF2B5EF4-FFF2-40B4-BE49-F238E27FC236}">
                  <a16:creationId xmlns:a16="http://schemas.microsoft.com/office/drawing/2014/main" id="{F339AA97-66AD-3AD9-F393-3974D12B10D0}"/>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44" name="Freeform 7">
              <a:extLst>
                <a:ext uri="{FF2B5EF4-FFF2-40B4-BE49-F238E27FC236}">
                  <a16:creationId xmlns:a16="http://schemas.microsoft.com/office/drawing/2014/main" id="{A2DD09DC-0810-20CD-11C0-4C8CBBFCC08B}"/>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5" name="Freeform 8">
              <a:extLst>
                <a:ext uri="{FF2B5EF4-FFF2-40B4-BE49-F238E27FC236}">
                  <a16:creationId xmlns:a16="http://schemas.microsoft.com/office/drawing/2014/main" id="{3724F65E-AD3F-37F6-D0E6-7299511741D8}"/>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6" name="Freeform 9">
              <a:extLst>
                <a:ext uri="{FF2B5EF4-FFF2-40B4-BE49-F238E27FC236}">
                  <a16:creationId xmlns:a16="http://schemas.microsoft.com/office/drawing/2014/main" id="{52C09A67-74BD-99CB-48FE-3F5990E684B8}"/>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7" name="Freeform 10">
              <a:extLst>
                <a:ext uri="{FF2B5EF4-FFF2-40B4-BE49-F238E27FC236}">
                  <a16:creationId xmlns:a16="http://schemas.microsoft.com/office/drawing/2014/main" id="{F38DB953-DB0A-B20E-BA2B-155F7029F3A3}"/>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8" name="Freeform 11">
              <a:extLst>
                <a:ext uri="{FF2B5EF4-FFF2-40B4-BE49-F238E27FC236}">
                  <a16:creationId xmlns:a16="http://schemas.microsoft.com/office/drawing/2014/main" id="{9725FB04-6469-E0A8-F904-B99BA82C8F7B}"/>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94735409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and two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417992632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663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AD7060CF-6E05-4E59-D4B0-85751A61AC19}"/>
              </a:ext>
            </a:extLst>
          </p:cNvPr>
          <p:cNvSpPr>
            <a:spLocks noGrp="1"/>
          </p:cNvSpPr>
          <p:nvPr>
            <p:ph type="pic" sz="quarter" idx="15" hasCustomPrompt="1"/>
          </p:nvPr>
        </p:nvSpPr>
        <p:spPr>
          <a:xfrm>
            <a:off x="-1" y="0"/>
            <a:ext cx="6096001" cy="6345238"/>
          </a:xfrm>
          <a:solidFill>
            <a:schemeClr val="bg2"/>
          </a:solidFill>
        </p:spPr>
        <p:txBody>
          <a:bodyPr rtlCol="0" anchor="ctr"/>
          <a:lstStyle>
            <a:lvl1pPr algn="ctr">
              <a:defRPr/>
            </a:lvl1pPr>
          </a:lstStyle>
          <a:p>
            <a:pPr rtl="0"/>
            <a:r>
              <a:rPr lang="ro"/>
              <a:t>Please insert an image</a:t>
            </a: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11664950" cy="4860925"/>
          </a:xfrm>
        </p:spPr>
        <p:txBody>
          <a:bodyPr rtlCol="0"/>
          <a:lstStyle>
            <a:lvl1pPr rtl="0">
              <a:defRPr/>
            </a:lvl1pPr>
            <a:lvl2pPr rtl="0">
              <a:defRPr/>
            </a:lvl2pPr>
            <a:lvl3pPr rtl="0">
              <a:defRPr/>
            </a:lvl3pPr>
            <a:lvl4pPr rtl="0">
              <a:defRPr/>
            </a:lvl4pPr>
            <a:lvl5pPr rtl="0">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8" y="264974"/>
            <a:ext cx="9682162" cy="215444"/>
          </a:xfrm>
        </p:spPr>
        <p:txBody>
          <a:bodyPr rtlCol="0">
            <a:spAutoFit/>
          </a:bodyPr>
          <a:lstStyle>
            <a:lvl1pPr rtl="0">
              <a:defRPr/>
            </a:lvl1pPr>
          </a:lstStyle>
          <a:p>
            <a:pPr lvl="0" rtl="0"/>
            <a:r>
              <a:rPr lang="ro"/>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ro"/>
              <a:t>- </a:t>
            </a:r>
            <a:fld id="{94A6D44E-0BF8-4A10-A708-3AB32E33FA71}" type="slidenum">
              <a:rPr lang="en-US" smtClean="0"/>
              <a:t>‹nr.›</a:t>
            </a:fld>
            <a:r>
              <a:rPr lang="ro"/>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ro"/>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588456"/>
            <a:ext cx="5742057"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ro"/>
              <a:t>Content slide with taped headline and two picture</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43730990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dark gray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06787842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765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1550" y="1"/>
            <a:ext cx="6096001" cy="6345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549910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7" y="264974"/>
            <a:ext cx="5499100" cy="215444"/>
          </a:xfrm>
        </p:spPr>
        <p:txBody>
          <a:bodyPr wrap="square" rtlCol="0">
            <a:spAutoFit/>
          </a:bodyPr>
          <a:lstStyle>
            <a:lvl1pPr rtl="0">
              <a:defRPr>
                <a:solidFill>
                  <a:schemeClr val="bg1"/>
                </a:solidFill>
              </a:defRPr>
            </a:lvl1pPr>
          </a:lstStyle>
          <a:p>
            <a:pPr lvl="0" rtl="0"/>
            <a:r>
              <a:rPr lang="ro"/>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ro"/>
              <a:t>- </a:t>
            </a:r>
            <a:fld id="{94A6D44E-0BF8-4A10-A708-3AB32E33FA71}" type="slidenum">
              <a:rPr lang="en-US" smtClean="0"/>
              <a:t>‹nr.›</a:t>
            </a:fld>
            <a:r>
              <a:rPr lang="ro"/>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ro"/>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588456"/>
            <a:ext cx="5078414"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ro"/>
              <a:t>Content slide with taped headline dark gray</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222873631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middle gray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17930085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867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1550" y="1"/>
            <a:ext cx="6096001" cy="6345238"/>
          </a:xfrm>
          <a:prstGeom prst="rect">
            <a:avLst/>
          </a:prstGeom>
          <a:solidFill>
            <a:srgbClr val="8F8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549910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7" y="264974"/>
            <a:ext cx="5499100" cy="215444"/>
          </a:xfrm>
        </p:spPr>
        <p:txBody>
          <a:bodyPr wrap="square" rtlCol="0">
            <a:spAutoFit/>
          </a:bodyPr>
          <a:lstStyle>
            <a:lvl1pPr rtl="0">
              <a:defRPr>
                <a:solidFill>
                  <a:schemeClr val="bg1"/>
                </a:solidFill>
              </a:defRPr>
            </a:lvl1pPr>
          </a:lstStyle>
          <a:p>
            <a:pPr lvl="0" rtl="0"/>
            <a:r>
              <a:rPr lang="ro"/>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ro"/>
              <a:t>- </a:t>
            </a:r>
            <a:fld id="{94A6D44E-0BF8-4A10-A708-3AB32E33FA71}" type="slidenum">
              <a:rPr lang="en-US" smtClean="0"/>
              <a:t>‹nr.›</a:t>
            </a:fld>
            <a:r>
              <a:rPr lang="ro"/>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ro"/>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90" y="588456"/>
            <a:ext cx="5331689"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ro"/>
              <a:t>Content slide with taped headline middle gray</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203797852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ent slide blue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119347828"/>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970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1550" y="1"/>
            <a:ext cx="6096001"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549910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7" y="264974"/>
            <a:ext cx="5499100" cy="215444"/>
          </a:xfrm>
        </p:spPr>
        <p:txBody>
          <a:bodyPr wrap="square" rtlCol="0">
            <a:spAutoFit/>
          </a:bodyPr>
          <a:lstStyle>
            <a:lvl1pPr rtl="0">
              <a:defRPr>
                <a:solidFill>
                  <a:schemeClr val="bg1"/>
                </a:solidFill>
              </a:defRPr>
            </a:lvl1pPr>
          </a:lstStyle>
          <a:p>
            <a:pPr lvl="0" rtl="0"/>
            <a:r>
              <a:rPr lang="ro"/>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ro"/>
              <a:t>- </a:t>
            </a:r>
            <a:fld id="{94A6D44E-0BF8-4A10-A708-3AB32E33FA71}" type="slidenum">
              <a:rPr lang="en-US" smtClean="0"/>
              <a:t>‹nr.›</a:t>
            </a:fld>
            <a:r>
              <a:rPr lang="ro"/>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ro"/>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8" y="624807"/>
            <a:ext cx="5499100" cy="369332"/>
          </a:xfrm>
        </p:spPr>
        <p:txBody>
          <a:bodyPr vert="horz" wrap="square" lIns="0" tIns="0" rIns="0" bIns="0" rtlCol="0" anchor="t">
            <a:spAutoFit/>
          </a:bodyPr>
          <a:lstStyle>
            <a:lvl1pPr>
              <a:defRPr lang="en-US" dirty="0">
                <a:solidFill>
                  <a:schemeClr val="bg1"/>
                </a:solidFill>
              </a:defRPr>
            </a:lvl1pPr>
          </a:lstStyle>
          <a:p>
            <a:pPr lvl="0" rtl="0"/>
            <a:r>
              <a:rPr lang="ro"/>
              <a:t>Content slide blue with picture</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134466879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dark gray and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81486580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072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4A8B5D45-F884-9B17-935F-16FA8C4FDC79}"/>
              </a:ext>
            </a:extLst>
          </p:cNvPr>
          <p:cNvSpPr>
            <a:spLocks noGrp="1"/>
          </p:cNvSpPr>
          <p:nvPr>
            <p:ph type="pic" sz="quarter" idx="20" hasCustomPrompt="1"/>
          </p:nvPr>
        </p:nvSpPr>
        <p:spPr>
          <a:xfrm>
            <a:off x="0" y="0"/>
            <a:ext cx="6096001" cy="6345238"/>
          </a:xfrm>
          <a:solidFill>
            <a:schemeClr val="bg2"/>
          </a:solidFill>
        </p:spPr>
        <p:txBody>
          <a:bodyPr rtlCol="0"/>
          <a:lstStyle/>
          <a:p>
            <a:pPr rtl="0"/>
            <a:r>
              <a:rPr lang="ro"/>
              <a:t>Please insert an image</a:t>
            </a:r>
          </a:p>
        </p:txBody>
      </p:sp>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6145200" y="1"/>
            <a:ext cx="6051599" cy="6345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6386842" y="2353901"/>
            <a:ext cx="5546297" cy="3775437"/>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6388429" y="1274841"/>
            <a:ext cx="5546297" cy="215444"/>
          </a:xfrm>
        </p:spPr>
        <p:txBody>
          <a:bodyPr wrap="square" rtlCol="0">
            <a:spAutoFit/>
          </a:bodyPr>
          <a:lstStyle>
            <a:lvl1pPr rtl="0">
              <a:defRPr>
                <a:solidFill>
                  <a:schemeClr val="bg1"/>
                </a:solidFill>
              </a:defRPr>
            </a:lvl1pPr>
          </a:lstStyle>
          <a:p>
            <a:pPr lvl="0" rtl="0"/>
            <a:r>
              <a:rPr lang="ro"/>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ro"/>
              <a:t>- </a:t>
            </a:r>
            <a:fld id="{94A6D44E-0BF8-4A10-A708-3AB32E33FA71}" type="slidenum">
              <a:rPr lang="en-US" smtClean="0"/>
              <a:t>‹nr.›</a:t>
            </a:fld>
            <a:r>
              <a:rPr lang="ro"/>
              <a:t> -</a:t>
            </a:r>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6388432" y="1598323"/>
            <a:ext cx="5078414"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ro"/>
              <a:t>Content slide with taped headline dark gray</a:t>
            </a:r>
            <a:endParaRPr lang="en-US" sz="2400">
              <a:solidFill>
                <a:schemeClr val="bg1"/>
              </a:solidFill>
              <a:latin typeface="+mj-lt"/>
              <a:cs typeface="Arial"/>
            </a:endParaRPr>
          </a:p>
        </p:txBody>
      </p:sp>
      <p:grpSp>
        <p:nvGrpSpPr>
          <p:cNvPr id="8" name="Gruppieren 7">
            <a:extLst>
              <a:ext uri="{FF2B5EF4-FFF2-40B4-BE49-F238E27FC236}">
                <a16:creationId xmlns:a16="http://schemas.microsoft.com/office/drawing/2014/main" id="{38A9BA94-440C-8B8C-B58D-A9211D52447D}"/>
              </a:ext>
            </a:extLst>
          </p:cNvPr>
          <p:cNvGrpSpPr>
            <a:grpSpLocks/>
          </p:cNvGrpSpPr>
          <p:nvPr userDrawn="1"/>
        </p:nvGrpSpPr>
        <p:grpSpPr>
          <a:xfrm>
            <a:off x="10714588" y="263197"/>
            <a:ext cx="1218552" cy="375634"/>
            <a:chOff x="7241394" y="191294"/>
            <a:chExt cx="1717661" cy="529490"/>
          </a:xfrm>
        </p:grpSpPr>
        <p:sp>
          <p:nvSpPr>
            <p:cNvPr id="11" name="Rectangle 1069">
              <a:extLst>
                <a:ext uri="{FF2B5EF4-FFF2-40B4-BE49-F238E27FC236}">
                  <a16:creationId xmlns:a16="http://schemas.microsoft.com/office/drawing/2014/main" id="{75DE629B-E0AF-8976-DA52-979CC6A47E72}"/>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F88B1B9E-9654-E21C-741B-C110D6C6EE7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5851E80A-82BD-D9C4-B8FC-E85E4EDFCD44}"/>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1" name="Freeform 7">
              <a:extLst>
                <a:ext uri="{FF2B5EF4-FFF2-40B4-BE49-F238E27FC236}">
                  <a16:creationId xmlns:a16="http://schemas.microsoft.com/office/drawing/2014/main" id="{3D5ED7D9-7422-46C1-CD49-198617E835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2" name="Freeform 8">
              <a:extLst>
                <a:ext uri="{FF2B5EF4-FFF2-40B4-BE49-F238E27FC236}">
                  <a16:creationId xmlns:a16="http://schemas.microsoft.com/office/drawing/2014/main" id="{3A230543-56C6-BF58-E2C2-BE6826770F7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3" name="Freeform 9">
              <a:extLst>
                <a:ext uri="{FF2B5EF4-FFF2-40B4-BE49-F238E27FC236}">
                  <a16:creationId xmlns:a16="http://schemas.microsoft.com/office/drawing/2014/main" id="{CCC16CA0-9036-A3EC-169F-D86C69F505E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4" name="Freeform 10">
              <a:extLst>
                <a:ext uri="{FF2B5EF4-FFF2-40B4-BE49-F238E27FC236}">
                  <a16:creationId xmlns:a16="http://schemas.microsoft.com/office/drawing/2014/main" id="{03B88F43-F8FC-94C7-12C2-CCB5A3665CB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11">
              <a:extLst>
                <a:ext uri="{FF2B5EF4-FFF2-40B4-BE49-F238E27FC236}">
                  <a16:creationId xmlns:a16="http://schemas.microsoft.com/office/drawing/2014/main" id="{1FAA7795-7203-8147-EEB8-753D0E2E463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56495938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text">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359170552"/>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410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88FA891D-4C80-FD57-476E-3475000B54F2}"/>
              </a:ext>
            </a:extLst>
          </p:cNvPr>
          <p:cNvSpPr>
            <a:spLocks noGrp="1"/>
          </p:cNvSpPr>
          <p:nvPr>
            <p:ph type="pic" sz="quarter" idx="14" hasCustomPrompt="1"/>
          </p:nvPr>
        </p:nvSpPr>
        <p:spPr>
          <a:xfrm>
            <a:off x="0" y="1"/>
            <a:ext cx="12198350" cy="6354763"/>
          </a:xfrm>
          <a:custGeom>
            <a:avLst/>
            <a:gdLst>
              <a:gd name="connsiteX0" fmla="*/ 10215479 w 12198350"/>
              <a:gd name="connsiteY0" fmla="*/ 263197 h 6354763"/>
              <a:gd name="connsiteX1" fmla="*/ 10215479 w 12198350"/>
              <a:gd name="connsiteY1" fmla="*/ 792687 h 6354763"/>
              <a:gd name="connsiteX2" fmla="*/ 11933140 w 12198350"/>
              <a:gd name="connsiteY2" fmla="*/ 792687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215479" y="263197"/>
                </a:moveTo>
                <a:lnTo>
                  <a:pt x="10215479" y="792687"/>
                </a:lnTo>
                <a:lnTo>
                  <a:pt x="11933140" y="792687"/>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ro"/>
              <a:t>Please insert an image</a:t>
            </a:r>
            <a:br>
              <a:rPr lang="en-US"/>
            </a:br>
            <a:br>
              <a:rPr lang="en-US"/>
            </a:br>
            <a:br>
              <a:rPr lang="en-US"/>
            </a:br>
            <a:br>
              <a:rPr lang="en-US"/>
            </a:br>
            <a:endParaRPr lang="en-US"/>
          </a:p>
        </p:txBody>
      </p:sp>
      <p:sp>
        <p:nvSpPr>
          <p:cNvPr id="6" name="Textplatzhalter 5"/>
          <p:cNvSpPr>
            <a:spLocks noGrp="1"/>
          </p:cNvSpPr>
          <p:nvPr>
            <p:ph type="body" sz="quarter" idx="13" hasCustomPrompt="1"/>
          </p:nvPr>
        </p:nvSpPr>
        <p:spPr>
          <a:xfrm>
            <a:off x="519113" y="5884669"/>
            <a:ext cx="11414027" cy="246221"/>
          </a:xfrm>
        </p:spPr>
        <p:txBody>
          <a:bodyPr rtlCol="0">
            <a:noAutofit/>
          </a:bodyPr>
          <a:lstStyle>
            <a:lvl1pPr marL="0" indent="0" rtl="0">
              <a:buNone/>
              <a:defRPr sz="1600" b="0" baseline="0">
                <a:solidFill>
                  <a:schemeClr val="bg1"/>
                </a:solidFill>
              </a:defRPr>
            </a:lvl1pPr>
          </a:lstStyle>
          <a:p>
            <a:pPr lvl="0" rtl="0"/>
            <a:r>
              <a:rPr lang="ro" noProof="0"/>
              <a:t>Subheading, Arial Regular 16 pt</a:t>
            </a:r>
          </a:p>
        </p:txBody>
      </p:sp>
      <p:sp>
        <p:nvSpPr>
          <p:cNvPr id="4" name="Textplatzhalter 3"/>
          <p:cNvSpPr>
            <a:spLocks noGrp="1"/>
          </p:cNvSpPr>
          <p:nvPr>
            <p:ph type="body" sz="quarter" idx="10" hasCustomPrompt="1"/>
          </p:nvPr>
        </p:nvSpPr>
        <p:spPr>
          <a:xfrm>
            <a:off x="519113" y="4508701"/>
            <a:ext cx="11414027" cy="1052596"/>
          </a:xfrm>
          <a:noFill/>
        </p:spPr>
        <p:txBody>
          <a:bodyPr wrap="square" lIns="0" tIns="0" rIns="0" bIns="0" rtlCol="0" anchor="b">
            <a:spAutoFit/>
          </a:bodyPr>
          <a:lstStyle>
            <a:lvl1pPr marL="0" indent="0" rtl="0">
              <a:lnSpc>
                <a:spcPct val="95000"/>
              </a:lnSpc>
              <a:buNone/>
              <a:defRPr sz="3600" b="0" cap="none" baseline="0">
                <a:solidFill>
                  <a:schemeClr val="bg1"/>
                </a:solidFill>
                <a:latin typeface="+mj-lt"/>
              </a:defRPr>
            </a:lvl1pPr>
          </a:lstStyle>
          <a:p>
            <a:pPr rtl="0">
              <a:lnSpc>
                <a:spcPct val="95000"/>
              </a:lnSpc>
            </a:pPr>
            <a:r>
              <a:rPr lang="ro" noProof="0"/>
              <a:t>Title slide white text, max. 2 lines,</a:t>
            </a:r>
            <a:br>
              <a:rPr lang="en-US" noProof="0"/>
            </a:br>
            <a:r>
              <a:rPr lang="ro" noProof="0"/>
              <a:t>Arial Narrow 36 pt</a:t>
            </a:r>
          </a:p>
        </p:txBody>
      </p:sp>
      <p:grpSp>
        <p:nvGrpSpPr>
          <p:cNvPr id="54" name="Gruppieren 53">
            <a:extLst>
              <a:ext uri="{FF2B5EF4-FFF2-40B4-BE49-F238E27FC236}">
                <a16:creationId xmlns:a16="http://schemas.microsoft.com/office/drawing/2014/main" id="{A2D76B4F-B453-4AD2-96C5-A617375BB8CE}"/>
              </a:ext>
            </a:extLst>
          </p:cNvPr>
          <p:cNvGrpSpPr/>
          <p:nvPr userDrawn="1"/>
        </p:nvGrpSpPr>
        <p:grpSpPr>
          <a:xfrm>
            <a:off x="10215479" y="263197"/>
            <a:ext cx="1717661" cy="529490"/>
            <a:chOff x="7241394" y="191294"/>
            <a:chExt cx="1717661" cy="529490"/>
          </a:xfrm>
        </p:grpSpPr>
        <p:sp>
          <p:nvSpPr>
            <p:cNvPr id="55" name="Rectangle 1069">
              <a:extLst>
                <a:ext uri="{FF2B5EF4-FFF2-40B4-BE49-F238E27FC236}">
                  <a16:creationId xmlns:a16="http://schemas.microsoft.com/office/drawing/2014/main" id="{77406A79-67EA-4712-AB12-F8A3854A83F1}"/>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56" name="AutoShape 4">
              <a:extLst>
                <a:ext uri="{FF2B5EF4-FFF2-40B4-BE49-F238E27FC236}">
                  <a16:creationId xmlns:a16="http://schemas.microsoft.com/office/drawing/2014/main" id="{317B0D42-B4C7-4308-AFB3-4310F4E2E06E}"/>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57" name="Freeform 6">
              <a:extLst>
                <a:ext uri="{FF2B5EF4-FFF2-40B4-BE49-F238E27FC236}">
                  <a16:creationId xmlns:a16="http://schemas.microsoft.com/office/drawing/2014/main" id="{57A0D84F-9200-4AC6-A2B8-F8A44DC707A6}"/>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8" name="Freeform 7">
              <a:extLst>
                <a:ext uri="{FF2B5EF4-FFF2-40B4-BE49-F238E27FC236}">
                  <a16:creationId xmlns:a16="http://schemas.microsoft.com/office/drawing/2014/main" id="{AEEEED60-B5C4-4BB7-AE7B-B93F5E548B52}"/>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9" name="Freeform 8">
              <a:extLst>
                <a:ext uri="{FF2B5EF4-FFF2-40B4-BE49-F238E27FC236}">
                  <a16:creationId xmlns:a16="http://schemas.microsoft.com/office/drawing/2014/main" id="{B7BE1049-AAD1-4AA1-B68D-FFCC6CCB59D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0" name="Freeform 9">
              <a:extLst>
                <a:ext uri="{FF2B5EF4-FFF2-40B4-BE49-F238E27FC236}">
                  <a16:creationId xmlns:a16="http://schemas.microsoft.com/office/drawing/2014/main" id="{ABB86660-6993-40AB-B11C-F5D2BCE8CD5A}"/>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61" name="Freeform 10">
              <a:extLst>
                <a:ext uri="{FF2B5EF4-FFF2-40B4-BE49-F238E27FC236}">
                  <a16:creationId xmlns:a16="http://schemas.microsoft.com/office/drawing/2014/main" id="{A3AB8BF3-FCC7-4CFC-95F3-D21B97B07197}"/>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2" name="Freeform 11">
              <a:extLst>
                <a:ext uri="{FF2B5EF4-FFF2-40B4-BE49-F238E27FC236}">
                  <a16:creationId xmlns:a16="http://schemas.microsoft.com/office/drawing/2014/main" id="{3FF7A0FB-60A6-41A8-B91F-A0A6619838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65" name="AutoShape 4">
            <a:extLst>
              <a:ext uri="{FF2B5EF4-FFF2-40B4-BE49-F238E27FC236}">
                <a16:creationId xmlns:a16="http://schemas.microsoft.com/office/drawing/2014/main" id="{51B3BA47-4FE8-4AE6-9440-41D3D1DEB463}"/>
              </a:ext>
            </a:extLst>
          </p:cNvPr>
          <p:cNvSpPr>
            <a:spLocks noChangeAspect="1" noChangeArrowheads="1" noTextEdit="1"/>
          </p:cNvSpPr>
          <p:nvPr userDrawn="1"/>
        </p:nvSpPr>
        <p:spPr bwMode="auto">
          <a:xfrm>
            <a:off x="10008891" y="1882470"/>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3" name="Rechteck 2">
            <a:extLst>
              <a:ext uri="{FF2B5EF4-FFF2-40B4-BE49-F238E27FC236}">
                <a16:creationId xmlns:a16="http://schemas.microsoft.com/office/drawing/2014/main" id="{1EFA3FDA-055B-BB89-18C1-676FAE7967F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 name="Rechteck 4">
            <a:extLst>
              <a:ext uri="{FF2B5EF4-FFF2-40B4-BE49-F238E27FC236}">
                <a16:creationId xmlns:a16="http://schemas.microsoft.com/office/drawing/2014/main" id="{B7CB337E-4353-AFF8-82DD-72AA96CA82E8}"/>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909197335"/>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blue and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31089685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175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4A8B5D45-F884-9B17-935F-16FA8C4FDC79}"/>
              </a:ext>
            </a:extLst>
          </p:cNvPr>
          <p:cNvSpPr>
            <a:spLocks noGrp="1"/>
          </p:cNvSpPr>
          <p:nvPr>
            <p:ph type="pic" sz="quarter" idx="20" hasCustomPrompt="1"/>
          </p:nvPr>
        </p:nvSpPr>
        <p:spPr>
          <a:xfrm>
            <a:off x="0" y="0"/>
            <a:ext cx="6096001" cy="6345238"/>
          </a:xfrm>
          <a:solidFill>
            <a:schemeClr val="bg2"/>
          </a:solidFill>
        </p:spPr>
        <p:txBody>
          <a:bodyPr rtlCol="0"/>
          <a:lstStyle/>
          <a:p>
            <a:pPr rtl="0"/>
            <a:r>
              <a:rPr lang="ro"/>
              <a:t>Please insert an image</a:t>
            </a:r>
          </a:p>
        </p:txBody>
      </p:sp>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6145200" y="1"/>
            <a:ext cx="6051599"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6386842" y="2353901"/>
            <a:ext cx="5546297" cy="3775437"/>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6388429" y="1274841"/>
            <a:ext cx="5546297" cy="215444"/>
          </a:xfrm>
        </p:spPr>
        <p:txBody>
          <a:bodyPr wrap="square" rtlCol="0">
            <a:spAutoFit/>
          </a:bodyPr>
          <a:lstStyle>
            <a:lvl1pPr rtl="0">
              <a:defRPr>
                <a:solidFill>
                  <a:schemeClr val="bg1"/>
                </a:solidFill>
              </a:defRPr>
            </a:lvl1pPr>
          </a:lstStyle>
          <a:p>
            <a:pPr lvl="0" rtl="0"/>
            <a:r>
              <a:rPr lang="ro"/>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ro"/>
              <a:t>- </a:t>
            </a:r>
            <a:fld id="{94A6D44E-0BF8-4A10-A708-3AB32E33FA71}" type="slidenum">
              <a:rPr lang="en-US" smtClean="0"/>
              <a:t>‹nr.›</a:t>
            </a:fld>
            <a:r>
              <a:rPr lang="ro"/>
              <a:t> -</a:t>
            </a:r>
          </a:p>
        </p:txBody>
      </p:sp>
      <p:grpSp>
        <p:nvGrpSpPr>
          <p:cNvPr id="8" name="Gruppieren 7">
            <a:extLst>
              <a:ext uri="{FF2B5EF4-FFF2-40B4-BE49-F238E27FC236}">
                <a16:creationId xmlns:a16="http://schemas.microsoft.com/office/drawing/2014/main" id="{38A9BA94-440C-8B8C-B58D-A9211D52447D}"/>
              </a:ext>
            </a:extLst>
          </p:cNvPr>
          <p:cNvGrpSpPr>
            <a:grpSpLocks/>
          </p:cNvGrpSpPr>
          <p:nvPr userDrawn="1"/>
        </p:nvGrpSpPr>
        <p:grpSpPr>
          <a:xfrm>
            <a:off x="10714588" y="263197"/>
            <a:ext cx="1218552" cy="375634"/>
            <a:chOff x="7241394" y="191294"/>
            <a:chExt cx="1717661" cy="529490"/>
          </a:xfrm>
        </p:grpSpPr>
        <p:sp>
          <p:nvSpPr>
            <p:cNvPr id="11" name="Rectangle 1069">
              <a:extLst>
                <a:ext uri="{FF2B5EF4-FFF2-40B4-BE49-F238E27FC236}">
                  <a16:creationId xmlns:a16="http://schemas.microsoft.com/office/drawing/2014/main" id="{75DE629B-E0AF-8976-DA52-979CC6A47E72}"/>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F88B1B9E-9654-E21C-741B-C110D6C6EE7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5851E80A-82BD-D9C4-B8FC-E85E4EDFCD44}"/>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1" name="Freeform 7">
              <a:extLst>
                <a:ext uri="{FF2B5EF4-FFF2-40B4-BE49-F238E27FC236}">
                  <a16:creationId xmlns:a16="http://schemas.microsoft.com/office/drawing/2014/main" id="{3D5ED7D9-7422-46C1-CD49-198617E835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2" name="Freeform 8">
              <a:extLst>
                <a:ext uri="{FF2B5EF4-FFF2-40B4-BE49-F238E27FC236}">
                  <a16:creationId xmlns:a16="http://schemas.microsoft.com/office/drawing/2014/main" id="{3A230543-56C6-BF58-E2C2-BE6826770F7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3" name="Freeform 9">
              <a:extLst>
                <a:ext uri="{FF2B5EF4-FFF2-40B4-BE49-F238E27FC236}">
                  <a16:creationId xmlns:a16="http://schemas.microsoft.com/office/drawing/2014/main" id="{CCC16CA0-9036-A3EC-169F-D86C69F505E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4" name="Freeform 10">
              <a:extLst>
                <a:ext uri="{FF2B5EF4-FFF2-40B4-BE49-F238E27FC236}">
                  <a16:creationId xmlns:a16="http://schemas.microsoft.com/office/drawing/2014/main" id="{03B88F43-F8FC-94C7-12C2-CCB5A3665CB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11">
              <a:extLst>
                <a:ext uri="{FF2B5EF4-FFF2-40B4-BE49-F238E27FC236}">
                  <a16:creationId xmlns:a16="http://schemas.microsoft.com/office/drawing/2014/main" id="{1FAA7795-7203-8147-EEB8-753D0E2E463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6388429" y="1626604"/>
            <a:ext cx="5546297" cy="369332"/>
          </a:xfrm>
          <a:noFill/>
        </p:spPr>
        <p:txBody>
          <a:bodyPr vert="horz" wrap="square" lIns="0" tIns="0" rIns="0" bIns="0" rtlCol="0"/>
          <a:lstStyle>
            <a:lvl1pPr rtl="0">
              <a:defRPr>
                <a:solidFill>
                  <a:schemeClr val="bg1"/>
                </a:solidFill>
              </a:defRPr>
            </a:lvl1pPr>
          </a:lstStyle>
          <a:p>
            <a:pPr marL="0" indent="0" rtl="0">
              <a:buNone/>
            </a:pPr>
            <a:r>
              <a:rPr lang="ro"/>
              <a:t>Content slide blue and picture left</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194278798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light gray and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43920632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277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4A8B5D45-F884-9B17-935F-16FA8C4FDC79}"/>
              </a:ext>
            </a:extLst>
          </p:cNvPr>
          <p:cNvSpPr>
            <a:spLocks noGrp="1"/>
          </p:cNvSpPr>
          <p:nvPr>
            <p:ph type="pic" sz="quarter" idx="20" hasCustomPrompt="1"/>
          </p:nvPr>
        </p:nvSpPr>
        <p:spPr>
          <a:xfrm>
            <a:off x="0" y="0"/>
            <a:ext cx="6096001" cy="6345238"/>
          </a:xfrm>
          <a:solidFill>
            <a:schemeClr val="bg2"/>
          </a:solidFill>
        </p:spPr>
        <p:txBody>
          <a:bodyPr rtlCol="0"/>
          <a:lstStyle/>
          <a:p>
            <a:pPr rtl="0"/>
            <a:r>
              <a:rPr lang="ro"/>
              <a:t>Please insert an image</a:t>
            </a:r>
          </a:p>
        </p:txBody>
      </p:sp>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6145200" y="1"/>
            <a:ext cx="6051599" cy="6345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6386842" y="2353901"/>
            <a:ext cx="5546297" cy="3775437"/>
          </a:xfrm>
        </p:spPr>
        <p:txBody>
          <a:bodyPr rtlCol="0"/>
          <a:lstStyle>
            <a:lvl1pPr rtl="0">
              <a:defRPr>
                <a:solidFill>
                  <a:schemeClr val="tx1"/>
                </a:solidFill>
              </a:defRPr>
            </a:lvl1pPr>
            <a:lvl2pPr rtl="0">
              <a:buClr>
                <a:schemeClr val="tx1"/>
              </a:buClr>
              <a:defRPr>
                <a:solidFill>
                  <a:schemeClr val="tx1"/>
                </a:solidFill>
              </a:defRPr>
            </a:lvl2pPr>
            <a:lvl3pPr rtl="0">
              <a:buClr>
                <a:schemeClr val="tx1"/>
              </a:buClr>
              <a:defRPr>
                <a:solidFill>
                  <a:schemeClr val="tx1"/>
                </a:solidFill>
              </a:defRPr>
            </a:lvl3pPr>
            <a:lvl4pPr rtl="0">
              <a:buClr>
                <a:schemeClr val="tx1"/>
              </a:buClr>
              <a:defRPr>
                <a:solidFill>
                  <a:schemeClr val="tx1"/>
                </a:solidFill>
              </a:defRPr>
            </a:lvl4pPr>
            <a:lvl5pPr rtl="0">
              <a:buClr>
                <a:schemeClr val="tx1"/>
              </a:buClr>
              <a:defRPr>
                <a:solidFill>
                  <a:schemeClr val="tx1"/>
                </a:solidFill>
              </a:defRPr>
            </a:lvl5pPr>
          </a:lstStyle>
          <a:p>
            <a:pPr lvl="0" rtl="0"/>
            <a:r>
              <a:rPr lang="ro"/>
              <a:t>Content text, Arial Regular 14 pt</a:t>
            </a:r>
          </a:p>
          <a:p>
            <a:pPr lvl="1" rtl="0"/>
            <a:r>
              <a:rPr lang="ro"/>
              <a:t>Content bullet, Arial Regular 14 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6388429" y="1274841"/>
            <a:ext cx="5546297" cy="215444"/>
          </a:xfrm>
        </p:spPr>
        <p:txBody>
          <a:bodyPr wrap="square" rtlCol="0">
            <a:spAutoFit/>
          </a:bodyPr>
          <a:lstStyle>
            <a:lvl1pPr rtl="0">
              <a:defRPr>
                <a:solidFill>
                  <a:schemeClr val="tx1"/>
                </a:solidFill>
              </a:defRPr>
            </a:lvl1pPr>
          </a:lstStyle>
          <a:p>
            <a:pPr lvl="0" rtl="0"/>
            <a:r>
              <a:rPr lang="ro"/>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ro"/>
              <a:t>- </a:t>
            </a:r>
            <a:fld id="{94A6D44E-0BF8-4A10-A708-3AB32E33FA71}" type="slidenum">
              <a:rPr lang="en-US" smtClean="0"/>
              <a:t>‹nr.›</a:t>
            </a:fld>
            <a:r>
              <a:rPr lang="ro"/>
              <a:t> -</a:t>
            </a:r>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6388432" y="1598323"/>
            <a:ext cx="4868421"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ro"/>
              <a:t>ontent slide with taped headline light gray</a:t>
            </a:r>
            <a:endParaRPr lang="en-US" sz="2400">
              <a:solidFill>
                <a:schemeClr val="bg1"/>
              </a:solidFill>
              <a:latin typeface="+mj-lt"/>
              <a:cs typeface="Arial"/>
            </a:endParaRPr>
          </a:p>
        </p:txBody>
      </p:sp>
      <p:grpSp>
        <p:nvGrpSpPr>
          <p:cNvPr id="8" name="Gruppieren 7">
            <a:extLst>
              <a:ext uri="{FF2B5EF4-FFF2-40B4-BE49-F238E27FC236}">
                <a16:creationId xmlns:a16="http://schemas.microsoft.com/office/drawing/2014/main" id="{38A9BA94-440C-8B8C-B58D-A9211D52447D}"/>
              </a:ext>
            </a:extLst>
          </p:cNvPr>
          <p:cNvGrpSpPr>
            <a:grpSpLocks/>
          </p:cNvGrpSpPr>
          <p:nvPr userDrawn="1"/>
        </p:nvGrpSpPr>
        <p:grpSpPr>
          <a:xfrm>
            <a:off x="10714588" y="263197"/>
            <a:ext cx="1218552" cy="375634"/>
            <a:chOff x="7241394" y="191294"/>
            <a:chExt cx="1717661" cy="529490"/>
          </a:xfrm>
        </p:grpSpPr>
        <p:sp>
          <p:nvSpPr>
            <p:cNvPr id="11" name="Rectangle 1069">
              <a:extLst>
                <a:ext uri="{FF2B5EF4-FFF2-40B4-BE49-F238E27FC236}">
                  <a16:creationId xmlns:a16="http://schemas.microsoft.com/office/drawing/2014/main" id="{75DE629B-E0AF-8976-DA52-979CC6A47E72}"/>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F88B1B9E-9654-E21C-741B-C110D6C6EE7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5851E80A-82BD-D9C4-B8FC-E85E4EDFCD44}"/>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1" name="Freeform 7">
              <a:extLst>
                <a:ext uri="{FF2B5EF4-FFF2-40B4-BE49-F238E27FC236}">
                  <a16:creationId xmlns:a16="http://schemas.microsoft.com/office/drawing/2014/main" id="{3D5ED7D9-7422-46C1-CD49-198617E835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2" name="Freeform 8">
              <a:extLst>
                <a:ext uri="{FF2B5EF4-FFF2-40B4-BE49-F238E27FC236}">
                  <a16:creationId xmlns:a16="http://schemas.microsoft.com/office/drawing/2014/main" id="{3A230543-56C6-BF58-E2C2-BE6826770F7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3" name="Freeform 9">
              <a:extLst>
                <a:ext uri="{FF2B5EF4-FFF2-40B4-BE49-F238E27FC236}">
                  <a16:creationId xmlns:a16="http://schemas.microsoft.com/office/drawing/2014/main" id="{CCC16CA0-9036-A3EC-169F-D86C69F505E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4" name="Freeform 10">
              <a:extLst>
                <a:ext uri="{FF2B5EF4-FFF2-40B4-BE49-F238E27FC236}">
                  <a16:creationId xmlns:a16="http://schemas.microsoft.com/office/drawing/2014/main" id="{03B88F43-F8FC-94C7-12C2-CCB5A3665CB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11">
              <a:extLst>
                <a:ext uri="{FF2B5EF4-FFF2-40B4-BE49-F238E27FC236}">
                  <a16:creationId xmlns:a16="http://schemas.microsoft.com/office/drawing/2014/main" id="{1FAA7795-7203-8147-EEB8-753D0E2E463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2221889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ene and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09314424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379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29" name="Bildplatzhalter 28">
            <a:extLst>
              <a:ext uri="{FF2B5EF4-FFF2-40B4-BE49-F238E27FC236}">
                <a16:creationId xmlns:a16="http://schemas.microsoft.com/office/drawing/2014/main" id="{9E1C9B5B-FEB8-03A9-B47C-29DF34D39E39}"/>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ro"/>
              <a:t>Please insert an image</a:t>
            </a:r>
            <a:br>
              <a:rPr lang="en-US" noProof="0"/>
            </a:br>
            <a:br>
              <a:rPr lang="en-US" noProof="0"/>
            </a:br>
            <a:br>
              <a:rPr lang="en-US" noProof="0"/>
            </a:br>
            <a:br>
              <a:rPr lang="en-US" noProof="0"/>
            </a:br>
            <a:endParaRPr lang="en-US"/>
          </a:p>
        </p:txBody>
      </p:sp>
      <p:sp>
        <p:nvSpPr>
          <p:cNvPr id="9" name="Textplatzhalter 8">
            <a:extLst>
              <a:ext uri="{FF2B5EF4-FFF2-40B4-BE49-F238E27FC236}">
                <a16:creationId xmlns:a16="http://schemas.microsoft.com/office/drawing/2014/main" id="{7CB54669-939B-3FA7-F373-3490F5E07106}"/>
              </a:ext>
            </a:extLst>
          </p:cNvPr>
          <p:cNvSpPr>
            <a:spLocks noGrp="1"/>
          </p:cNvSpPr>
          <p:nvPr>
            <p:ph type="body" sz="quarter" idx="13" hasCustomPrompt="1"/>
          </p:nvPr>
        </p:nvSpPr>
        <p:spPr>
          <a:xfrm>
            <a:off x="266700" y="3608746"/>
            <a:ext cx="1697682" cy="442035"/>
          </a:xfrm>
          <a:solidFill>
            <a:schemeClr val="accent5"/>
          </a:solidFill>
        </p:spPr>
        <p:txBody>
          <a:bodyPr wrap="none" lIns="108000" tIns="36000" rIns="108000" bIns="36000" rtlCol="0" anchor="ctr">
            <a:spAutoFit/>
          </a:bodyPr>
          <a:lstStyle>
            <a:lvl1pPr rtl="0">
              <a:defRPr sz="2400">
                <a:solidFill>
                  <a:schemeClr val="bg1"/>
                </a:solidFill>
                <a:latin typeface="+mj-lt"/>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ro"/>
              <a:t>Content slide</a:t>
            </a:r>
            <a:endParaRPr lang="en-US"/>
          </a:p>
        </p:txBody>
      </p:sp>
      <p:sp>
        <p:nvSpPr>
          <p:cNvPr id="11" name="Textplatzhalter 10">
            <a:extLst>
              <a:ext uri="{FF2B5EF4-FFF2-40B4-BE49-F238E27FC236}">
                <a16:creationId xmlns:a16="http://schemas.microsoft.com/office/drawing/2014/main" id="{9D6B6110-3312-1933-4232-657BDD327846}"/>
              </a:ext>
            </a:extLst>
          </p:cNvPr>
          <p:cNvSpPr>
            <a:spLocks noGrp="1"/>
          </p:cNvSpPr>
          <p:nvPr>
            <p:ph type="body" sz="quarter" idx="14" hasCustomPrompt="1"/>
          </p:nvPr>
        </p:nvSpPr>
        <p:spPr>
          <a:xfrm>
            <a:off x="268288" y="264974"/>
            <a:ext cx="9682162" cy="215444"/>
          </a:xfrm>
        </p:spPr>
        <p:txBody>
          <a:bodyPr rtlCol="0">
            <a:spAutoFit/>
          </a:bodyPr>
          <a:lstStyle>
            <a:lvl1pPr rtl="0">
              <a:defRPr/>
            </a:lvl1pPr>
            <a:lvl5pPr>
              <a:defRPr/>
            </a:lvl5pPr>
          </a:lstStyle>
          <a:p>
            <a:pPr lvl="0" rtl="0"/>
            <a:r>
              <a:rPr lang="ro"/>
              <a:t>Topline, Arial Regular 14 pt</a:t>
            </a:r>
          </a:p>
        </p:txBody>
      </p:sp>
      <p:sp>
        <p:nvSpPr>
          <p:cNvPr id="3" name="Textplatzhalter 8">
            <a:extLst>
              <a:ext uri="{FF2B5EF4-FFF2-40B4-BE49-F238E27FC236}">
                <a16:creationId xmlns:a16="http://schemas.microsoft.com/office/drawing/2014/main" id="{0F7397F6-EFC6-3B46-1C72-37D66AAD6227}"/>
              </a:ext>
            </a:extLst>
          </p:cNvPr>
          <p:cNvSpPr>
            <a:spLocks noGrp="1"/>
          </p:cNvSpPr>
          <p:nvPr>
            <p:ph type="body" sz="quarter" idx="15" hasCustomPrompt="1"/>
          </p:nvPr>
        </p:nvSpPr>
        <p:spPr>
          <a:xfrm>
            <a:off x="266700" y="4122781"/>
            <a:ext cx="2403003" cy="442035"/>
          </a:xfrm>
          <a:solidFill>
            <a:schemeClr val="accent5"/>
          </a:solidFill>
        </p:spPr>
        <p:txBody>
          <a:bodyPr wrap="none" lIns="108000" tIns="36000" rIns="108000" bIns="36000" rtlCol="0" anchor="ctr">
            <a:spAutoFit/>
          </a:bodyPr>
          <a:lstStyle>
            <a:lvl1pPr rtl="0">
              <a:defRPr sz="2400">
                <a:solidFill>
                  <a:schemeClr val="bg1"/>
                </a:solidFill>
                <a:latin typeface="+mj-lt"/>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ro"/>
              <a:t>with taped headline</a:t>
            </a:r>
          </a:p>
        </p:txBody>
      </p:sp>
      <p:sp>
        <p:nvSpPr>
          <p:cNvPr id="4" name="Textplatzhalter 8">
            <a:extLst>
              <a:ext uri="{FF2B5EF4-FFF2-40B4-BE49-F238E27FC236}">
                <a16:creationId xmlns:a16="http://schemas.microsoft.com/office/drawing/2014/main" id="{D320D940-783E-5D79-8C4C-C9FB64B07EAF}"/>
              </a:ext>
            </a:extLst>
          </p:cNvPr>
          <p:cNvSpPr>
            <a:spLocks noGrp="1"/>
          </p:cNvSpPr>
          <p:nvPr>
            <p:ph type="body" sz="quarter" idx="16" hasCustomPrompt="1"/>
          </p:nvPr>
        </p:nvSpPr>
        <p:spPr>
          <a:xfrm>
            <a:off x="266700" y="4636816"/>
            <a:ext cx="1471658" cy="442035"/>
          </a:xfrm>
          <a:solidFill>
            <a:schemeClr val="accent5"/>
          </a:solidFill>
        </p:spPr>
        <p:txBody>
          <a:bodyPr wrap="none" lIns="108000" tIns="36000" rIns="108000" bIns="36000" rtlCol="0" anchor="ctr">
            <a:spAutoFit/>
          </a:bodyPr>
          <a:lstStyle>
            <a:lvl1pPr rtl="0">
              <a:defRPr sz="2400">
                <a:solidFill>
                  <a:schemeClr val="bg1"/>
                </a:solidFill>
                <a:latin typeface="+mj-lt"/>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rtl="0"/>
            <a:r>
              <a:rPr lang="ro"/>
              <a:t>and picture</a:t>
            </a:r>
          </a:p>
        </p:txBody>
      </p:sp>
      <p:sp>
        <p:nvSpPr>
          <p:cNvPr id="7" name="Datumsplatzhalter 6">
            <a:extLst>
              <a:ext uri="{FF2B5EF4-FFF2-40B4-BE49-F238E27FC236}">
                <a16:creationId xmlns:a16="http://schemas.microsoft.com/office/drawing/2014/main" id="{41744AAC-F57C-6738-8CBD-1F7779E1234E}"/>
              </a:ext>
            </a:extLst>
          </p:cNvPr>
          <p:cNvSpPr>
            <a:spLocks noGrp="1"/>
          </p:cNvSpPr>
          <p:nvPr>
            <p:ph type="dt" sz="half" idx="17"/>
          </p:nvPr>
        </p:nvSpPr>
        <p:spPr/>
        <p:txBody>
          <a:bodyPr rtlCol="0"/>
          <a:lstStyle/>
          <a:p>
            <a:pPr rtl="0"/>
            <a:endParaRPr lang="en-US"/>
          </a:p>
        </p:txBody>
      </p:sp>
      <p:sp>
        <p:nvSpPr>
          <p:cNvPr id="8" name="Fußzeilenplatzhalter 7">
            <a:extLst>
              <a:ext uri="{FF2B5EF4-FFF2-40B4-BE49-F238E27FC236}">
                <a16:creationId xmlns:a16="http://schemas.microsoft.com/office/drawing/2014/main" id="{D9832C8C-450F-EC62-2EAE-6B9C10180397}"/>
              </a:ext>
            </a:extLst>
          </p:cNvPr>
          <p:cNvSpPr>
            <a:spLocks noGrp="1"/>
          </p:cNvSpPr>
          <p:nvPr>
            <p:ph type="ftr" sz="quarter" idx="18"/>
          </p:nvPr>
        </p:nvSpPr>
        <p:spPr/>
        <p:txBody>
          <a:bodyPr rtlCol="0"/>
          <a:lstStyle/>
          <a:p>
            <a:pPr rtl="0"/>
            <a:endParaRPr lang="en-US"/>
          </a:p>
        </p:txBody>
      </p:sp>
      <p:sp>
        <p:nvSpPr>
          <p:cNvPr id="10" name="Foliennummernplatzhalter 9">
            <a:extLst>
              <a:ext uri="{FF2B5EF4-FFF2-40B4-BE49-F238E27FC236}">
                <a16:creationId xmlns:a16="http://schemas.microsoft.com/office/drawing/2014/main" id="{D67AFF9F-BE1A-9E06-52E3-3C647085DA15}"/>
              </a:ext>
            </a:extLst>
          </p:cNvPr>
          <p:cNvSpPr>
            <a:spLocks noGrp="1"/>
          </p:cNvSpPr>
          <p:nvPr>
            <p:ph type="sldNum" sz="quarter" idx="19"/>
          </p:nvPr>
        </p:nvSpPr>
        <p:spPr/>
        <p:txBody>
          <a:bodyPr rtlCol="0"/>
          <a:lstStyle/>
          <a:p>
            <a:pPr rtl="0"/>
            <a:r>
              <a:rPr lang="ro"/>
              <a:t>- </a:t>
            </a:r>
            <a:fld id="{94A6D44E-0BF8-4A10-A708-3AB32E33FA71}" type="slidenum">
              <a:rPr lang="en-US" smtClean="0"/>
              <a:t>‹nr.›</a:t>
            </a:fld>
            <a:r>
              <a:rPr lang="ro"/>
              <a:t> -</a:t>
            </a:r>
          </a:p>
        </p:txBody>
      </p:sp>
      <p:grpSp>
        <p:nvGrpSpPr>
          <p:cNvPr id="12" name="Gruppieren 11">
            <a:extLst>
              <a:ext uri="{FF2B5EF4-FFF2-40B4-BE49-F238E27FC236}">
                <a16:creationId xmlns:a16="http://schemas.microsoft.com/office/drawing/2014/main" id="{C737AFB5-273A-7DE8-D9BA-8C960975833A}"/>
              </a:ext>
            </a:extLst>
          </p:cNvPr>
          <p:cNvGrpSpPr>
            <a:grpSpLocks/>
          </p:cNvGrpSpPr>
          <p:nvPr userDrawn="1"/>
        </p:nvGrpSpPr>
        <p:grpSpPr>
          <a:xfrm>
            <a:off x="10714588" y="263197"/>
            <a:ext cx="1218552" cy="375634"/>
            <a:chOff x="7241394" y="191294"/>
            <a:chExt cx="1717661" cy="529490"/>
          </a:xfrm>
        </p:grpSpPr>
        <p:sp>
          <p:nvSpPr>
            <p:cNvPr id="13" name="Rectangle 1069">
              <a:extLst>
                <a:ext uri="{FF2B5EF4-FFF2-40B4-BE49-F238E27FC236}">
                  <a16:creationId xmlns:a16="http://schemas.microsoft.com/office/drawing/2014/main" id="{CA845485-93F0-35CD-E860-DFA090A1D9BA}"/>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4" name="AutoShape 4">
              <a:extLst>
                <a:ext uri="{FF2B5EF4-FFF2-40B4-BE49-F238E27FC236}">
                  <a16:creationId xmlns:a16="http://schemas.microsoft.com/office/drawing/2014/main" id="{5124073B-869A-5610-9BD6-981803AEA22A}"/>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6">
              <a:extLst>
                <a:ext uri="{FF2B5EF4-FFF2-40B4-BE49-F238E27FC236}">
                  <a16:creationId xmlns:a16="http://schemas.microsoft.com/office/drawing/2014/main" id="{E83BF81F-785D-F2F3-E6C9-89C60EEEB4D9}"/>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7">
              <a:extLst>
                <a:ext uri="{FF2B5EF4-FFF2-40B4-BE49-F238E27FC236}">
                  <a16:creationId xmlns:a16="http://schemas.microsoft.com/office/drawing/2014/main" id="{FA211514-6FBA-BD52-B709-983A6607D719}"/>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8">
              <a:extLst>
                <a:ext uri="{FF2B5EF4-FFF2-40B4-BE49-F238E27FC236}">
                  <a16:creationId xmlns:a16="http://schemas.microsoft.com/office/drawing/2014/main" id="{43F611B3-2E9E-6187-0E58-72F7A6145AA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9">
              <a:extLst>
                <a:ext uri="{FF2B5EF4-FFF2-40B4-BE49-F238E27FC236}">
                  <a16:creationId xmlns:a16="http://schemas.microsoft.com/office/drawing/2014/main" id="{F9F43F9A-5075-D4F5-D0F1-5DFEB8137139}"/>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9" name="Freeform 10">
              <a:extLst>
                <a:ext uri="{FF2B5EF4-FFF2-40B4-BE49-F238E27FC236}">
                  <a16:creationId xmlns:a16="http://schemas.microsoft.com/office/drawing/2014/main" id="{564164AA-FF0D-C53A-CA9C-2E5098F1FAC6}"/>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11">
              <a:extLst>
                <a:ext uri="{FF2B5EF4-FFF2-40B4-BE49-F238E27FC236}">
                  <a16:creationId xmlns:a16="http://schemas.microsoft.com/office/drawing/2014/main" id="{6C068CCB-B79A-3DC1-441F-13F3746AA267}"/>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275160339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Sustainabilit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6312121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482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0" name="Bildplatzhalter 29">
            <a:extLst>
              <a:ext uri="{FF2B5EF4-FFF2-40B4-BE49-F238E27FC236}">
                <a16:creationId xmlns:a16="http://schemas.microsoft.com/office/drawing/2014/main" id="{951CD16A-DB15-09C8-FFCA-54BA906D6A01}"/>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ro"/>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827465"/>
            <a:ext cx="7578842" cy="442035"/>
          </a:xfrm>
          <a:solidFill>
            <a:srgbClr val="64A33C"/>
          </a:solidFill>
        </p:spPr>
        <p:txBody>
          <a:bodyPr vert="horz" wrap="none" lIns="108000" tIns="36000" rIns="108000" bIns="36000" rtlCol="0"/>
          <a:lstStyle>
            <a:lvl1pPr rtl="0">
              <a:defRPr>
                <a:solidFill>
                  <a:schemeClr val="bg1"/>
                </a:solidFill>
              </a:defRPr>
            </a:lvl1pPr>
          </a:lstStyle>
          <a:p>
            <a:pPr rtl="0"/>
            <a:r>
              <a:rPr lang="ro"/>
              <a:t>Content slide with taped headline Sustainability, Arial Narrow 24 pt</a:t>
            </a:r>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8" y="264974"/>
            <a:ext cx="9682162" cy="215444"/>
          </a:xfrm>
        </p:spPr>
        <p:txBody>
          <a:bodyPr rtlCol="0">
            <a:spAutoFit/>
          </a:bodyPr>
          <a:lstStyle>
            <a:lvl1pPr rtl="0">
              <a:defRPr cap="none" baseline="0">
                <a:solidFill>
                  <a:srgbClr val="64A33C"/>
                </a:solidFill>
              </a:defRPr>
            </a:lvl1pPr>
          </a:lstStyle>
          <a:p>
            <a:pPr lvl="0" rtl="0"/>
            <a:r>
              <a:rPr lang="ro"/>
              <a:t>Topline, Arial Regular 14 pt</a:t>
            </a:r>
          </a:p>
        </p:txBody>
      </p:sp>
      <p:sp>
        <p:nvSpPr>
          <p:cNvPr id="6" name="Textplatzhalter 5">
            <a:extLst>
              <a:ext uri="{FF2B5EF4-FFF2-40B4-BE49-F238E27FC236}">
                <a16:creationId xmlns:a16="http://schemas.microsoft.com/office/drawing/2014/main" id="{35D8602E-47F3-588C-EBA5-1A646AB50BD4}"/>
              </a:ext>
            </a:extLst>
          </p:cNvPr>
          <p:cNvSpPr>
            <a:spLocks noGrp="1"/>
          </p:cNvSpPr>
          <p:nvPr>
            <p:ph type="body" sz="quarter" idx="15" hasCustomPrompt="1"/>
          </p:nvPr>
        </p:nvSpPr>
        <p:spPr>
          <a:xfrm>
            <a:off x="268288" y="567780"/>
            <a:ext cx="1080000" cy="0"/>
          </a:xfrm>
          <a:custGeom>
            <a:avLst/>
            <a:gdLst>
              <a:gd name="connsiteX0" fmla="*/ 0 w 1485900"/>
              <a:gd name="connsiteY0" fmla="*/ 0 h 762000"/>
              <a:gd name="connsiteX1" fmla="*/ 1485900 w 1485900"/>
              <a:gd name="connsiteY1" fmla="*/ 0 h 762000"/>
              <a:gd name="connsiteX2" fmla="*/ 1485900 w 1485900"/>
              <a:gd name="connsiteY2" fmla="*/ 762000 h 762000"/>
              <a:gd name="connsiteX3" fmla="*/ 0 w 1485900"/>
              <a:gd name="connsiteY3" fmla="*/ 762000 h 762000"/>
              <a:gd name="connsiteX4" fmla="*/ 0 w 1485900"/>
              <a:gd name="connsiteY4" fmla="*/ 0 h 762000"/>
              <a:gd name="connsiteX0" fmla="*/ 1485900 w 1577340"/>
              <a:gd name="connsiteY0" fmla="*/ 0 h 762000"/>
              <a:gd name="connsiteX1" fmla="*/ 1485900 w 1577340"/>
              <a:gd name="connsiteY1" fmla="*/ 762000 h 762000"/>
              <a:gd name="connsiteX2" fmla="*/ 0 w 1577340"/>
              <a:gd name="connsiteY2" fmla="*/ 762000 h 762000"/>
              <a:gd name="connsiteX3" fmla="*/ 0 w 1577340"/>
              <a:gd name="connsiteY3" fmla="*/ 0 h 762000"/>
              <a:gd name="connsiteX4" fmla="*/ 1577340 w 1577340"/>
              <a:gd name="connsiteY4" fmla="*/ 91440 h 762000"/>
              <a:gd name="connsiteX0" fmla="*/ 1485900 w 1485900"/>
              <a:gd name="connsiteY0" fmla="*/ 0 h 762000"/>
              <a:gd name="connsiteX1" fmla="*/ 1485900 w 1485900"/>
              <a:gd name="connsiteY1" fmla="*/ 762000 h 762000"/>
              <a:gd name="connsiteX2" fmla="*/ 0 w 1485900"/>
              <a:gd name="connsiteY2" fmla="*/ 762000 h 762000"/>
              <a:gd name="connsiteX3" fmla="*/ 0 w 1485900"/>
              <a:gd name="connsiteY3" fmla="*/ 0 h 762000"/>
              <a:gd name="connsiteX0" fmla="*/ 1485900 w 1485900"/>
              <a:gd name="connsiteY0" fmla="*/ 762000 h 762000"/>
              <a:gd name="connsiteX1" fmla="*/ 0 w 1485900"/>
              <a:gd name="connsiteY1" fmla="*/ 762000 h 762000"/>
              <a:gd name="connsiteX2" fmla="*/ 0 w 1485900"/>
              <a:gd name="connsiteY2" fmla="*/ 0 h 762000"/>
              <a:gd name="connsiteX0" fmla="*/ 1485900 w 1485900"/>
              <a:gd name="connsiteY0" fmla="*/ 0 h 0"/>
              <a:gd name="connsiteX1" fmla="*/ 0 w 1485900"/>
              <a:gd name="connsiteY1" fmla="*/ 0 h 0"/>
            </a:gdLst>
            <a:ahLst/>
            <a:cxnLst>
              <a:cxn ang="0">
                <a:pos x="connsiteX0" y="connsiteY0"/>
              </a:cxn>
              <a:cxn ang="0">
                <a:pos x="connsiteX1" y="connsiteY1"/>
              </a:cxn>
            </a:cxnLst>
            <a:rect l="l" t="t" r="r" b="b"/>
            <a:pathLst>
              <a:path w="1485900">
                <a:moveTo>
                  <a:pt x="1485900" y="0"/>
                </a:moveTo>
                <a:lnTo>
                  <a:pt x="0" y="0"/>
                </a:lnTo>
              </a:path>
            </a:pathLst>
          </a:custGeom>
          <a:ln w="19050">
            <a:solidFill>
              <a:srgbClr val="64A33C"/>
            </a:solidFill>
          </a:ln>
        </p:spPr>
        <p:txBody>
          <a:bodyPr rtlCol="0">
            <a:normAutofit/>
          </a:bodyPr>
          <a:lstStyle>
            <a:lvl1pPr>
              <a:defRPr sz="100"/>
            </a:lvl1pPr>
          </a:lstStyle>
          <a:p>
            <a:pPr lvl="0" rtl="0"/>
            <a:r>
              <a:rPr lang="ro"/>
              <a:t> </a:t>
            </a:r>
          </a:p>
        </p:txBody>
      </p:sp>
      <p:sp>
        <p:nvSpPr>
          <p:cNvPr id="10" name="Datumsplatzhalter 9">
            <a:extLst>
              <a:ext uri="{FF2B5EF4-FFF2-40B4-BE49-F238E27FC236}">
                <a16:creationId xmlns:a16="http://schemas.microsoft.com/office/drawing/2014/main" id="{66DBB3E2-DE3F-972E-48B3-62640757EFFD}"/>
              </a:ext>
            </a:extLst>
          </p:cNvPr>
          <p:cNvSpPr>
            <a:spLocks noGrp="1"/>
          </p:cNvSpPr>
          <p:nvPr>
            <p:ph type="dt" sz="half" idx="16"/>
          </p:nvPr>
        </p:nvSpPr>
        <p:spPr/>
        <p:txBody>
          <a:bodyPr rtlCol="0"/>
          <a:lstStyle/>
          <a:p>
            <a:pPr rtl="0"/>
            <a:endParaRPr lang="en-US"/>
          </a:p>
        </p:txBody>
      </p:sp>
      <p:sp>
        <p:nvSpPr>
          <p:cNvPr id="11" name="Fußzeilenplatzhalter 10">
            <a:extLst>
              <a:ext uri="{FF2B5EF4-FFF2-40B4-BE49-F238E27FC236}">
                <a16:creationId xmlns:a16="http://schemas.microsoft.com/office/drawing/2014/main" id="{5190921D-A220-8DD6-AAFE-912BE10DF7C8}"/>
              </a:ext>
            </a:extLst>
          </p:cNvPr>
          <p:cNvSpPr>
            <a:spLocks noGrp="1"/>
          </p:cNvSpPr>
          <p:nvPr>
            <p:ph type="ftr" sz="quarter" idx="17"/>
          </p:nvPr>
        </p:nvSpPr>
        <p:spPr/>
        <p:txBody>
          <a:bodyPr rtlCol="0"/>
          <a:lstStyle/>
          <a:p>
            <a:pPr rtl="0"/>
            <a:endParaRPr lang="en-US"/>
          </a:p>
        </p:txBody>
      </p:sp>
      <p:sp>
        <p:nvSpPr>
          <p:cNvPr id="12" name="Foliennummernplatzhalter 11">
            <a:extLst>
              <a:ext uri="{FF2B5EF4-FFF2-40B4-BE49-F238E27FC236}">
                <a16:creationId xmlns:a16="http://schemas.microsoft.com/office/drawing/2014/main" id="{07183C1C-D69D-0BF3-EC84-1ECF6E51A928}"/>
              </a:ext>
            </a:extLst>
          </p:cNvPr>
          <p:cNvSpPr>
            <a:spLocks noGrp="1"/>
          </p:cNvSpPr>
          <p:nvPr>
            <p:ph type="sldNum" sz="quarter" idx="18"/>
          </p:nvPr>
        </p:nvSpPr>
        <p:spPr/>
        <p:txBody>
          <a:bodyPr rtlCol="0"/>
          <a:lstStyle/>
          <a:p>
            <a:pPr rtl="0"/>
            <a:r>
              <a:rPr lang="ro"/>
              <a:t>- </a:t>
            </a:r>
            <a:fld id="{94A6D44E-0BF8-4A10-A708-3AB32E33FA71}" type="slidenum">
              <a:rPr lang="en-US" smtClean="0"/>
              <a:t>‹nr.›</a:t>
            </a:fld>
            <a:r>
              <a:rPr lang="ro"/>
              <a:t> -</a:t>
            </a:r>
          </a:p>
        </p:txBody>
      </p:sp>
      <p:grpSp>
        <p:nvGrpSpPr>
          <p:cNvPr id="13" name="Gruppieren 12">
            <a:extLst>
              <a:ext uri="{FF2B5EF4-FFF2-40B4-BE49-F238E27FC236}">
                <a16:creationId xmlns:a16="http://schemas.microsoft.com/office/drawing/2014/main" id="{812A64C4-5A99-E05A-2C71-37834E228348}"/>
              </a:ext>
            </a:extLst>
          </p:cNvPr>
          <p:cNvGrpSpPr>
            <a:grpSpLocks/>
          </p:cNvGrpSpPr>
          <p:nvPr userDrawn="1"/>
        </p:nvGrpSpPr>
        <p:grpSpPr>
          <a:xfrm>
            <a:off x="10714588" y="263197"/>
            <a:ext cx="1218552" cy="375634"/>
            <a:chOff x="7241394" y="191294"/>
            <a:chExt cx="1717661" cy="529490"/>
          </a:xfrm>
        </p:grpSpPr>
        <p:sp>
          <p:nvSpPr>
            <p:cNvPr id="14" name="Rectangle 1069">
              <a:extLst>
                <a:ext uri="{FF2B5EF4-FFF2-40B4-BE49-F238E27FC236}">
                  <a16:creationId xmlns:a16="http://schemas.microsoft.com/office/drawing/2014/main" id="{7B669AD6-3836-3184-D7CC-B1897D8A6A90}"/>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5" name="AutoShape 4">
              <a:extLst>
                <a:ext uri="{FF2B5EF4-FFF2-40B4-BE49-F238E27FC236}">
                  <a16:creationId xmlns:a16="http://schemas.microsoft.com/office/drawing/2014/main" id="{C5B66AAB-01D0-B7B8-55C6-8DFE43CA4B1A}"/>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6">
              <a:extLst>
                <a:ext uri="{FF2B5EF4-FFF2-40B4-BE49-F238E27FC236}">
                  <a16:creationId xmlns:a16="http://schemas.microsoft.com/office/drawing/2014/main" id="{8F08FA73-DC62-0537-14F8-4CFA075D6F6C}"/>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7">
              <a:extLst>
                <a:ext uri="{FF2B5EF4-FFF2-40B4-BE49-F238E27FC236}">
                  <a16:creationId xmlns:a16="http://schemas.microsoft.com/office/drawing/2014/main" id="{A609A24E-84A4-398B-65D1-C384D6ECFC2B}"/>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8">
              <a:extLst>
                <a:ext uri="{FF2B5EF4-FFF2-40B4-BE49-F238E27FC236}">
                  <a16:creationId xmlns:a16="http://schemas.microsoft.com/office/drawing/2014/main" id="{F1C707C8-4611-F0C0-8F04-BE8B61F9EC05}"/>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9" name="Freeform 9">
              <a:extLst>
                <a:ext uri="{FF2B5EF4-FFF2-40B4-BE49-F238E27FC236}">
                  <a16:creationId xmlns:a16="http://schemas.microsoft.com/office/drawing/2014/main" id="{B7366628-B4D6-7DCF-0C50-9778F07E88FB}"/>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10">
              <a:extLst>
                <a:ext uri="{FF2B5EF4-FFF2-40B4-BE49-F238E27FC236}">
                  <a16:creationId xmlns:a16="http://schemas.microsoft.com/office/drawing/2014/main" id="{32C65417-7365-B524-0B1B-38A3BCE4ED05}"/>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11">
              <a:extLst>
                <a:ext uri="{FF2B5EF4-FFF2-40B4-BE49-F238E27FC236}">
                  <a16:creationId xmlns:a16="http://schemas.microsoft.com/office/drawing/2014/main" id="{8BEF2555-B70B-323F-1B5E-AC3704A72284}"/>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694603256"/>
      </p:ext>
    </p:extLst>
  </p:cSld>
  <p:clrMapOvr>
    <a:masterClrMapping/>
  </p:clrMapOvr>
  <p:extLst>
    <p:ext uri="{DCECCB84-F9BA-43D5-87BE-67443E8EF086}">
      <p15:sldGuideLst xmlns:p15="http://schemas.microsoft.com/office/powerpoint/2012/main">
        <p15:guide id="1" orient="horz" pos="981"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ullsize picture with taped headline and white box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96591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7"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6D65ADA0-BCDB-49B9-A600-CB5C28128788}"/>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2" name="Datumsplatzhalter 1">
            <a:extLst>
              <a:ext uri="{FF2B5EF4-FFF2-40B4-BE49-F238E27FC236}">
                <a16:creationId xmlns:a16="http://schemas.microsoft.com/office/drawing/2014/main" id="{4F2AB175-9BC9-42CC-9E51-6D28E2981852}"/>
              </a:ext>
            </a:extLst>
          </p:cNvPr>
          <p:cNvSpPr>
            <a:spLocks noGrp="1"/>
          </p:cNvSpPr>
          <p:nvPr>
            <p:ph type="dt" sz="half" idx="16"/>
          </p:nvPr>
        </p:nvSpPr>
        <p:spPr/>
        <p:txBody>
          <a:bodyPr rtlCol="0"/>
          <a:lstStyle>
            <a:lvl1pPr rtl="0">
              <a:defRPr/>
            </a:lvl1pPr>
          </a:lstStyle>
          <a:p>
            <a:pPr rtl="0"/>
            <a:endParaRPr lang="en-GB"/>
          </a:p>
        </p:txBody>
      </p:sp>
      <p:sp>
        <p:nvSpPr>
          <p:cNvPr id="4" name="Foliennummernplatzhalter 3">
            <a:extLst>
              <a:ext uri="{FF2B5EF4-FFF2-40B4-BE49-F238E27FC236}">
                <a16:creationId xmlns:a16="http://schemas.microsoft.com/office/drawing/2014/main" id="{C24E7702-4173-4F48-AF29-9C59421F6160}"/>
              </a:ext>
            </a:extLst>
          </p:cNvPr>
          <p:cNvSpPr>
            <a:spLocks noGrp="1"/>
          </p:cNvSpPr>
          <p:nvPr>
            <p:ph type="sldNum" sz="quarter" idx="18"/>
          </p:nvPr>
        </p:nvSpPr>
        <p:spPr/>
        <p:txBody>
          <a:bodyPr rtlCol="0"/>
          <a:lstStyle>
            <a:lvl1pPr rtl="0">
              <a:defRPr/>
            </a:lvl1pPr>
          </a:lstStyle>
          <a:p>
            <a:pPr rtl="0"/>
            <a:r>
              <a:rPr lang="ro"/>
              <a:t>- </a:t>
            </a:r>
            <a:fld id="{94A6D44E-0BF8-4A10-A708-3AB32E33FA71}" type="slidenum">
              <a:rPr lang="en-GB" smtClean="0"/>
              <a:pPr rtl="0"/>
              <a:t>‹nr.›</a:t>
            </a:fld>
            <a:r>
              <a:rPr lang="ro"/>
              <a:t> -</a:t>
            </a:r>
          </a:p>
        </p:txBody>
      </p:sp>
      <p:sp>
        <p:nvSpPr>
          <p:cNvPr id="8" name="Bildplatzhalter 7">
            <a:extLst>
              <a:ext uri="{FF2B5EF4-FFF2-40B4-BE49-F238E27FC236}">
                <a16:creationId xmlns:a16="http://schemas.microsoft.com/office/drawing/2014/main" id="{3E8D63A5-320E-E26B-022F-88BE75FBF304}"/>
              </a:ext>
            </a:extLst>
          </p:cNvPr>
          <p:cNvSpPr>
            <a:spLocks noGrp="1"/>
          </p:cNvSpPr>
          <p:nvPr>
            <p:ph type="pic" sz="quarter" idx="20" hasCustomPrompt="1"/>
          </p:nvPr>
        </p:nvSpPr>
        <p:spPr>
          <a:xfrm>
            <a:off x="0" y="0"/>
            <a:ext cx="12198350" cy="6858000"/>
          </a:xfrm>
          <a:custGeom>
            <a:avLst/>
            <a:gdLst>
              <a:gd name="connsiteX0" fmla="*/ 6211125 w 12198350"/>
              <a:gd name="connsiteY0" fmla="*/ 6857999 h 6858000"/>
              <a:gd name="connsiteX1" fmla="*/ 12198350 w 12198350"/>
              <a:gd name="connsiteY1" fmla="*/ 6857999 h 6858000"/>
              <a:gd name="connsiteX2" fmla="*/ 12198350 w 12198350"/>
              <a:gd name="connsiteY2" fmla="*/ 6858000 h 6858000"/>
              <a:gd name="connsiteX3" fmla="*/ 6211125 w 12198350"/>
              <a:gd name="connsiteY3" fmla="*/ 6858000 h 6858000"/>
              <a:gd name="connsiteX4" fmla="*/ 10714588 w 12198350"/>
              <a:gd name="connsiteY4" fmla="*/ 263197 h 6858000"/>
              <a:gd name="connsiteX5" fmla="*/ 10714588 w 12198350"/>
              <a:gd name="connsiteY5" fmla="*/ 638831 h 6858000"/>
              <a:gd name="connsiteX6" fmla="*/ 11933140 w 12198350"/>
              <a:gd name="connsiteY6" fmla="*/ 638831 h 6858000"/>
              <a:gd name="connsiteX7" fmla="*/ 11933140 w 12198350"/>
              <a:gd name="connsiteY7" fmla="*/ 263197 h 6858000"/>
              <a:gd name="connsiteX8" fmla="*/ 0 w 12198350"/>
              <a:gd name="connsiteY8" fmla="*/ 0 h 6858000"/>
              <a:gd name="connsiteX9" fmla="*/ 12198350 w 12198350"/>
              <a:gd name="connsiteY9" fmla="*/ 0 h 6858000"/>
              <a:gd name="connsiteX10" fmla="*/ 12198350 w 12198350"/>
              <a:gd name="connsiteY10" fmla="*/ 3600547 h 6858000"/>
              <a:gd name="connsiteX11" fmla="*/ 5653825 w 12198350"/>
              <a:gd name="connsiteY11" fmla="*/ 3600547 h 6858000"/>
              <a:gd name="connsiteX12" fmla="*/ 5653825 w 12198350"/>
              <a:gd name="connsiteY12" fmla="*/ 6353175 h 6858000"/>
              <a:gd name="connsiteX13" fmla="*/ 0 w 12198350"/>
              <a:gd name="connsiteY13" fmla="*/ 6353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8350" h="6858000">
                <a:moveTo>
                  <a:pt x="6211125" y="6857999"/>
                </a:moveTo>
                <a:lnTo>
                  <a:pt x="12198350" y="6857999"/>
                </a:lnTo>
                <a:lnTo>
                  <a:pt x="12198350" y="6858000"/>
                </a:lnTo>
                <a:lnTo>
                  <a:pt x="6211125" y="6858000"/>
                </a:lnTo>
                <a:close/>
                <a:moveTo>
                  <a:pt x="10714588" y="263197"/>
                </a:moveTo>
                <a:lnTo>
                  <a:pt x="10714588" y="638831"/>
                </a:lnTo>
                <a:lnTo>
                  <a:pt x="11933140" y="638831"/>
                </a:lnTo>
                <a:lnTo>
                  <a:pt x="11933140" y="263197"/>
                </a:lnTo>
                <a:close/>
                <a:moveTo>
                  <a:pt x="0" y="0"/>
                </a:moveTo>
                <a:lnTo>
                  <a:pt x="12198350" y="0"/>
                </a:lnTo>
                <a:lnTo>
                  <a:pt x="12198350" y="3600547"/>
                </a:lnTo>
                <a:lnTo>
                  <a:pt x="5653825" y="3600547"/>
                </a:lnTo>
                <a:lnTo>
                  <a:pt x="5653825" y="6353175"/>
                </a:lnTo>
                <a:lnTo>
                  <a:pt x="0" y="6353175"/>
                </a:lnTo>
                <a:close/>
              </a:path>
            </a:pathLst>
          </a:custGeom>
          <a:solidFill>
            <a:schemeClr val="bg2"/>
          </a:solidFill>
        </p:spPr>
        <p:txBody>
          <a:bodyPr wrap="square" rtlCol="0" anchor="ctr">
            <a:noAutofit/>
          </a:bodyP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3" name="Fußzeilenplatzhalter 2">
            <a:extLst>
              <a:ext uri="{FF2B5EF4-FFF2-40B4-BE49-F238E27FC236}">
                <a16:creationId xmlns:a16="http://schemas.microsoft.com/office/drawing/2014/main" id="{09A2A73A-E66E-4BD1-9F49-87B248C8C195}"/>
              </a:ext>
            </a:extLst>
          </p:cNvPr>
          <p:cNvSpPr>
            <a:spLocks noGrp="1"/>
          </p:cNvSpPr>
          <p:nvPr>
            <p:ph type="ftr" sz="quarter" idx="17"/>
          </p:nvPr>
        </p:nvSpPr>
        <p:spPr/>
        <p:txBody>
          <a:bodyPr rtlCol="0"/>
          <a:lstStyle>
            <a:lvl1pPr rtl="0">
              <a:defRPr/>
            </a:lvl1pPr>
          </a:lstStyle>
          <a:p>
            <a:pPr rtl="0"/>
            <a:endParaRPr lang="en-GB"/>
          </a:p>
        </p:txBody>
      </p:sp>
      <p:grpSp>
        <p:nvGrpSpPr>
          <p:cNvPr id="38" name="Gruppieren 37">
            <a:extLst>
              <a:ext uri="{FF2B5EF4-FFF2-40B4-BE49-F238E27FC236}">
                <a16:creationId xmlns:a16="http://schemas.microsoft.com/office/drawing/2014/main" id="{A447554A-7004-452A-B359-9A92353C8747}"/>
              </a:ext>
            </a:extLst>
          </p:cNvPr>
          <p:cNvGrpSpPr/>
          <p:nvPr userDrawn="1"/>
        </p:nvGrpSpPr>
        <p:grpSpPr>
          <a:xfrm>
            <a:off x="10714588" y="263197"/>
            <a:ext cx="1218552" cy="375634"/>
            <a:chOff x="7241394" y="191294"/>
            <a:chExt cx="1717661" cy="529490"/>
          </a:xfrm>
        </p:grpSpPr>
        <p:sp>
          <p:nvSpPr>
            <p:cNvPr id="39" name="Rectangle 1069">
              <a:extLst>
                <a:ext uri="{FF2B5EF4-FFF2-40B4-BE49-F238E27FC236}">
                  <a16:creationId xmlns:a16="http://schemas.microsoft.com/office/drawing/2014/main" id="{F72CD9CC-9F0E-4F1C-A2B8-BB13092F4A08}"/>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40" name="AutoShape 4">
              <a:extLst>
                <a:ext uri="{FF2B5EF4-FFF2-40B4-BE49-F238E27FC236}">
                  <a16:creationId xmlns:a16="http://schemas.microsoft.com/office/drawing/2014/main" id="{FC91D32B-D072-41CF-8A5D-9797D61ADCF2}"/>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6">
              <a:extLst>
                <a:ext uri="{FF2B5EF4-FFF2-40B4-BE49-F238E27FC236}">
                  <a16:creationId xmlns:a16="http://schemas.microsoft.com/office/drawing/2014/main" id="{7B266785-2FF9-4C19-86F3-E1758AB6B130}"/>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42" name="Freeform 7">
              <a:extLst>
                <a:ext uri="{FF2B5EF4-FFF2-40B4-BE49-F238E27FC236}">
                  <a16:creationId xmlns:a16="http://schemas.microsoft.com/office/drawing/2014/main" id="{E6654076-856E-4CC5-9221-71E66814A2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3" name="Freeform 8">
              <a:extLst>
                <a:ext uri="{FF2B5EF4-FFF2-40B4-BE49-F238E27FC236}">
                  <a16:creationId xmlns:a16="http://schemas.microsoft.com/office/drawing/2014/main" id="{642723F8-486D-4DB0-8993-92774E6A6507}"/>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4" name="Freeform 9">
              <a:extLst>
                <a:ext uri="{FF2B5EF4-FFF2-40B4-BE49-F238E27FC236}">
                  <a16:creationId xmlns:a16="http://schemas.microsoft.com/office/drawing/2014/main" id="{00698954-9B67-4B1A-A7E4-9A38C27306E8}"/>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5" name="Freeform 10">
              <a:extLst>
                <a:ext uri="{FF2B5EF4-FFF2-40B4-BE49-F238E27FC236}">
                  <a16:creationId xmlns:a16="http://schemas.microsoft.com/office/drawing/2014/main" id="{D42B1DAA-5AD5-4FC6-B6ED-8AEAE546AEC0}"/>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6" name="Freeform 11">
              <a:extLst>
                <a:ext uri="{FF2B5EF4-FFF2-40B4-BE49-F238E27FC236}">
                  <a16:creationId xmlns:a16="http://schemas.microsoft.com/office/drawing/2014/main" id="{280FFF07-90CD-4FA8-83BA-8C39C8719D99}"/>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11" name="Textplatzhalter 10">
            <a:extLst>
              <a:ext uri="{FF2B5EF4-FFF2-40B4-BE49-F238E27FC236}">
                <a16:creationId xmlns:a16="http://schemas.microsoft.com/office/drawing/2014/main" id="{0C682E0C-B1BE-4B20-975E-B40F7DFC322E}"/>
              </a:ext>
            </a:extLst>
          </p:cNvPr>
          <p:cNvSpPr>
            <a:spLocks noGrp="1"/>
          </p:cNvSpPr>
          <p:nvPr>
            <p:ph type="body" sz="quarter" idx="21" hasCustomPrompt="1"/>
          </p:nvPr>
        </p:nvSpPr>
        <p:spPr>
          <a:xfrm>
            <a:off x="519113" y="423689"/>
            <a:ext cx="2738030"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ro"/>
              <a:t>Fullsize picture</a:t>
            </a:r>
          </a:p>
        </p:txBody>
      </p:sp>
      <p:sp>
        <p:nvSpPr>
          <p:cNvPr id="47" name="Textplatzhalter 10">
            <a:extLst>
              <a:ext uri="{FF2B5EF4-FFF2-40B4-BE49-F238E27FC236}">
                <a16:creationId xmlns:a16="http://schemas.microsoft.com/office/drawing/2014/main" id="{F3EA6705-F654-4156-B170-2B1D3B7E0740}"/>
              </a:ext>
            </a:extLst>
          </p:cNvPr>
          <p:cNvSpPr>
            <a:spLocks noGrp="1"/>
          </p:cNvSpPr>
          <p:nvPr>
            <p:ph type="body" sz="quarter" idx="22" hasCustomPrompt="1"/>
          </p:nvPr>
        </p:nvSpPr>
        <p:spPr>
          <a:xfrm>
            <a:off x="519113" y="1122390"/>
            <a:ext cx="5911976"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ro"/>
              <a:t>with taped headline and white box</a:t>
            </a:r>
          </a:p>
        </p:txBody>
      </p:sp>
      <p:sp>
        <p:nvSpPr>
          <p:cNvPr id="48" name="Textplatzhalter 10">
            <a:extLst>
              <a:ext uri="{FF2B5EF4-FFF2-40B4-BE49-F238E27FC236}">
                <a16:creationId xmlns:a16="http://schemas.microsoft.com/office/drawing/2014/main" id="{C632BAF7-1F32-42F7-AEEB-80CDCFA2AF5A}"/>
              </a:ext>
            </a:extLst>
          </p:cNvPr>
          <p:cNvSpPr>
            <a:spLocks noGrp="1"/>
          </p:cNvSpPr>
          <p:nvPr>
            <p:ph type="body" sz="quarter" idx="23" hasCustomPrompt="1"/>
          </p:nvPr>
        </p:nvSpPr>
        <p:spPr>
          <a:xfrm>
            <a:off x="519113" y="1821091"/>
            <a:ext cx="3246182"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ro"/>
              <a:t>Arial Narrow 36 pt</a:t>
            </a:r>
            <a:endParaRPr lang="en-GB"/>
          </a:p>
        </p:txBody>
      </p:sp>
      <p:sp>
        <p:nvSpPr>
          <p:cNvPr id="49" name="Textplatzhalter 10">
            <a:extLst>
              <a:ext uri="{FF2B5EF4-FFF2-40B4-BE49-F238E27FC236}">
                <a16:creationId xmlns:a16="http://schemas.microsoft.com/office/drawing/2014/main" id="{CF627B6D-F8FD-450F-AE50-0B5CA1E520DD}"/>
              </a:ext>
            </a:extLst>
          </p:cNvPr>
          <p:cNvSpPr>
            <a:spLocks noGrp="1"/>
          </p:cNvSpPr>
          <p:nvPr>
            <p:ph type="body" sz="quarter" idx="24" hasCustomPrompt="1"/>
          </p:nvPr>
        </p:nvSpPr>
        <p:spPr>
          <a:xfrm>
            <a:off x="6027738" y="3875994"/>
            <a:ext cx="5905402" cy="1415772"/>
          </a:xfrm>
        </p:spPr>
        <p:txBody>
          <a:bodyPr rtlCol="0">
            <a:spAutoFit/>
          </a:bodyPr>
          <a:lstStyle>
            <a:lvl1pPr marL="0" indent="0" rtl="0">
              <a:buNone/>
              <a:defRPr sz="1400" b="1"/>
            </a:lvl1pPr>
            <a:lvl2pPr marL="0" indent="0" rtl="0">
              <a:buNone/>
              <a:defRPr sz="1400"/>
            </a:lvl2pPr>
            <a:lvl3pPr marL="180975" indent="-180975" rtl="0">
              <a:defRPr sz="1400"/>
            </a:lvl3pPr>
            <a:lvl4pPr marL="357188" indent="-177800" rtl="0">
              <a:defRPr sz="1400"/>
            </a:lvl4pPr>
            <a:lvl5pPr marL="536575" indent="-180975" defTabSz="893763" rtl="0">
              <a:defRPr sz="1400"/>
            </a:lvl5pPr>
          </a:lstStyle>
          <a:p>
            <a:pPr lvl="0" rtl="0"/>
            <a:r>
              <a:rPr lang="ro" noProof="0"/>
              <a:t>Content text, Arial Regular 14 pt</a:t>
            </a:r>
            <a:endParaRPr lang="en-GB" noProof="0"/>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endParaRPr lang="en-GB"/>
          </a:p>
        </p:txBody>
      </p:sp>
      <p:sp>
        <p:nvSpPr>
          <p:cNvPr id="5" name="Rechteck 4">
            <a:extLst>
              <a:ext uri="{FF2B5EF4-FFF2-40B4-BE49-F238E27FC236}">
                <a16:creationId xmlns:a16="http://schemas.microsoft.com/office/drawing/2014/main" id="{EA508872-83D0-EF9D-44A0-04BF1C551112}"/>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CDF949F3-A8FB-6B7B-5FD0-0D28D1AFF621}"/>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299767068"/>
      </p:ext>
    </p:extLst>
  </p:cSld>
  <p:clrMapOvr>
    <a:masterClrMapping/>
  </p:clrMapOvr>
  <p:extLst>
    <p:ext uri="{DCECCB84-F9BA-43D5-87BE-67443E8EF086}">
      <p15:sldGuideLst xmlns:p15="http://schemas.microsoft.com/office/powerpoint/2012/main">
        <p15:guide id="1" pos="3797">
          <p15:clr>
            <a:srgbClr val="FBAE40"/>
          </p15:clr>
        </p15:guide>
        <p15:guide id="2" pos="3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ullsize picture with taped headline and right blue box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8038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C87D665F-33FC-2825-DA5A-8EDF26077C67}"/>
              </a:ext>
            </a:extLst>
          </p:cNvPr>
          <p:cNvSpPr>
            <a:spLocks noGrp="1"/>
          </p:cNvSpPr>
          <p:nvPr>
            <p:ph type="pic" sz="quarter" idx="20" hasCustomPrompt="1"/>
          </p:nvPr>
        </p:nvSpPr>
        <p:spPr>
          <a:xfrm>
            <a:off x="0" y="1"/>
            <a:ext cx="12198350" cy="6354763"/>
          </a:xfrm>
          <a:custGeom>
            <a:avLst/>
            <a:gdLst>
              <a:gd name="connsiteX0" fmla="*/ 10714588 w 12198350"/>
              <a:gd name="connsiteY0" fmla="*/ 263197 h 6354763"/>
              <a:gd name="connsiteX1" fmla="*/ 10714588 w 12198350"/>
              <a:gd name="connsiteY1" fmla="*/ 638831 h 6354763"/>
              <a:gd name="connsiteX2" fmla="*/ 11933140 w 12198350"/>
              <a:gd name="connsiteY2" fmla="*/ 638831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714588" y="263197"/>
                </a:moveTo>
                <a:lnTo>
                  <a:pt x="10714588" y="638831"/>
                </a:lnTo>
                <a:lnTo>
                  <a:pt x="11933140" y="638831"/>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49" name="Textplatzhalter 10">
            <a:extLst>
              <a:ext uri="{FF2B5EF4-FFF2-40B4-BE49-F238E27FC236}">
                <a16:creationId xmlns:a16="http://schemas.microsoft.com/office/drawing/2014/main" id="{CF627B6D-F8FD-450F-AE50-0B5CA1E520DD}"/>
              </a:ext>
            </a:extLst>
          </p:cNvPr>
          <p:cNvSpPr>
            <a:spLocks noGrp="1"/>
          </p:cNvSpPr>
          <p:nvPr>
            <p:ph type="body" sz="quarter" idx="24" hasCustomPrompt="1"/>
          </p:nvPr>
        </p:nvSpPr>
        <p:spPr>
          <a:xfrm>
            <a:off x="6212682" y="4094713"/>
            <a:ext cx="5985668" cy="2250525"/>
          </a:xfrm>
          <a:solidFill>
            <a:schemeClr val="accent5"/>
          </a:solidFill>
        </p:spPr>
        <p:txBody>
          <a:bodyPr lIns="288000" tIns="180000" rIns="288000" bIns="540000" rtlCol="0" anchor="b">
            <a:spAutoFit/>
          </a:bodyPr>
          <a:lstStyle>
            <a:lvl1pPr marL="0" indent="0" rtl="0">
              <a:spcAft>
                <a:spcPts val="600"/>
              </a:spcAft>
              <a:buClr>
                <a:schemeClr val="bg1"/>
              </a:buClr>
              <a:buNone/>
              <a:defRPr sz="1400" b="1">
                <a:solidFill>
                  <a:schemeClr val="bg1"/>
                </a:solidFill>
              </a:defRPr>
            </a:lvl1pPr>
            <a:lvl2pPr marL="0" indent="0" rtl="0">
              <a:buClr>
                <a:schemeClr val="bg1"/>
              </a:buClr>
              <a:buNone/>
              <a:defRPr sz="1400">
                <a:solidFill>
                  <a:schemeClr val="bg1"/>
                </a:solidFill>
              </a:defRPr>
            </a:lvl2pPr>
            <a:lvl3pPr marL="180975" indent="-180975" rtl="0">
              <a:buClr>
                <a:schemeClr val="bg1"/>
              </a:buClr>
              <a:defRPr sz="1400">
                <a:solidFill>
                  <a:schemeClr val="bg1"/>
                </a:solidFill>
              </a:defRPr>
            </a:lvl3pPr>
            <a:lvl4pPr marL="355600" indent="-177800" rtl="0">
              <a:buClr>
                <a:schemeClr val="bg1"/>
              </a:buClr>
              <a:defRPr sz="1400">
                <a:solidFill>
                  <a:schemeClr val="bg1"/>
                </a:solidFill>
              </a:defRPr>
            </a:lvl4pPr>
            <a:lvl5pPr marL="533400" indent="-180975" defTabSz="1257300" rtl="0">
              <a:buClr>
                <a:schemeClr val="bg1"/>
              </a:buClr>
              <a:defRPr sz="1400">
                <a:solidFill>
                  <a:schemeClr val="bg1"/>
                </a:solidFill>
              </a:defRPr>
            </a:lvl5pPr>
          </a:lstStyle>
          <a:p>
            <a:pPr lvl="0" rtl="0"/>
            <a:r>
              <a:rPr lang="ro" noProof="0"/>
              <a:t>Content text, Arial Regular 14 pt</a:t>
            </a:r>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endParaRPr lang="en-GB"/>
          </a:p>
        </p:txBody>
      </p:sp>
      <p:grpSp>
        <p:nvGrpSpPr>
          <p:cNvPr id="5" name="Gruppieren 4">
            <a:extLst>
              <a:ext uri="{FF2B5EF4-FFF2-40B4-BE49-F238E27FC236}">
                <a16:creationId xmlns:a16="http://schemas.microsoft.com/office/drawing/2014/main" id="{DF28AE04-0DCE-D57F-8AB7-D4385648E916}"/>
              </a:ext>
            </a:extLst>
          </p:cNvPr>
          <p:cNvGrpSpPr/>
          <p:nvPr userDrawn="1"/>
        </p:nvGrpSpPr>
        <p:grpSpPr>
          <a:xfrm>
            <a:off x="10741633" y="290242"/>
            <a:ext cx="1164461" cy="321542"/>
            <a:chOff x="10741633" y="290242"/>
            <a:chExt cx="1164461" cy="321542"/>
          </a:xfrm>
        </p:grpSpPr>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6D65ADA0-BCDB-49B9-A600-CB5C28128788}"/>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0" name="AutoShape 4">
              <a:extLst>
                <a:ext uri="{FF2B5EF4-FFF2-40B4-BE49-F238E27FC236}">
                  <a16:creationId xmlns:a16="http://schemas.microsoft.com/office/drawing/2014/main" id="{FC91D32B-D072-41CF-8A5D-9797D61ADCF2}"/>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6">
              <a:extLst>
                <a:ext uri="{FF2B5EF4-FFF2-40B4-BE49-F238E27FC236}">
                  <a16:creationId xmlns:a16="http://schemas.microsoft.com/office/drawing/2014/main" id="{7B266785-2FF9-4C19-86F3-E1758AB6B130}"/>
                </a:ext>
              </a:extLst>
            </p:cNvPr>
            <p:cNvSpPr>
              <a:spLocks noEditPoints="1"/>
            </p:cNvSpPr>
            <p:nvPr/>
          </p:nvSpPr>
          <p:spPr bwMode="auto">
            <a:xfrm>
              <a:off x="10741633" y="290242"/>
              <a:ext cx="1091118" cy="321542"/>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42" name="Freeform 7">
              <a:extLst>
                <a:ext uri="{FF2B5EF4-FFF2-40B4-BE49-F238E27FC236}">
                  <a16:creationId xmlns:a16="http://schemas.microsoft.com/office/drawing/2014/main" id="{E6654076-856E-4CC5-9221-71E66814A2BD}"/>
                </a:ext>
              </a:extLst>
            </p:cNvPr>
            <p:cNvSpPr>
              <a:spLocks/>
            </p:cNvSpPr>
            <p:nvPr/>
          </p:nvSpPr>
          <p:spPr bwMode="auto">
            <a:xfrm>
              <a:off x="11589598" y="381129"/>
              <a:ext cx="6865" cy="6880"/>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3" name="Freeform 8">
              <a:extLst>
                <a:ext uri="{FF2B5EF4-FFF2-40B4-BE49-F238E27FC236}">
                  <a16:creationId xmlns:a16="http://schemas.microsoft.com/office/drawing/2014/main" id="{642723F8-486D-4DB0-8993-92774E6A6507}"/>
                </a:ext>
              </a:extLst>
            </p:cNvPr>
            <p:cNvSpPr>
              <a:spLocks/>
            </p:cNvSpPr>
            <p:nvPr/>
          </p:nvSpPr>
          <p:spPr bwMode="auto">
            <a:xfrm>
              <a:off x="11053794" y="401044"/>
              <a:ext cx="96466" cy="36934"/>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4" name="Freeform 9">
              <a:extLst>
                <a:ext uri="{FF2B5EF4-FFF2-40B4-BE49-F238E27FC236}">
                  <a16:creationId xmlns:a16="http://schemas.microsoft.com/office/drawing/2014/main" id="{00698954-9B67-4B1A-A7E4-9A38C27306E8}"/>
                </a:ext>
              </a:extLst>
            </p:cNvPr>
            <p:cNvSpPr>
              <a:spLocks noEditPoints="1"/>
            </p:cNvSpPr>
            <p:nvPr/>
          </p:nvSpPr>
          <p:spPr bwMode="auto">
            <a:xfrm>
              <a:off x="11575146" y="370990"/>
              <a:ext cx="35046" cy="35848"/>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5" name="Freeform 10">
              <a:extLst>
                <a:ext uri="{FF2B5EF4-FFF2-40B4-BE49-F238E27FC236}">
                  <a16:creationId xmlns:a16="http://schemas.microsoft.com/office/drawing/2014/main" id="{D42B1DAA-5AD5-4FC6-B6ED-8AEAE546AEC0}"/>
                </a:ext>
              </a:extLst>
            </p:cNvPr>
            <p:cNvSpPr>
              <a:spLocks/>
            </p:cNvSpPr>
            <p:nvPr/>
          </p:nvSpPr>
          <p:spPr bwMode="auto">
            <a:xfrm>
              <a:off x="11407143" y="468394"/>
              <a:ext cx="76595" cy="73144"/>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6" name="Freeform 11">
              <a:extLst>
                <a:ext uri="{FF2B5EF4-FFF2-40B4-BE49-F238E27FC236}">
                  <a16:creationId xmlns:a16="http://schemas.microsoft.com/office/drawing/2014/main" id="{280FFF07-90CD-4FA8-83BA-8C39C8719D99}"/>
                </a:ext>
              </a:extLst>
            </p:cNvPr>
            <p:cNvSpPr>
              <a:spLocks/>
            </p:cNvSpPr>
            <p:nvPr/>
          </p:nvSpPr>
          <p:spPr bwMode="auto">
            <a:xfrm>
              <a:off x="11576230" y="290242"/>
              <a:ext cx="329864" cy="321542"/>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11" name="Textplatzhalter 10">
            <a:extLst>
              <a:ext uri="{FF2B5EF4-FFF2-40B4-BE49-F238E27FC236}">
                <a16:creationId xmlns:a16="http://schemas.microsoft.com/office/drawing/2014/main" id="{0C682E0C-B1BE-4B20-975E-B40F7DFC322E}"/>
              </a:ext>
            </a:extLst>
          </p:cNvPr>
          <p:cNvSpPr>
            <a:spLocks noGrp="1"/>
          </p:cNvSpPr>
          <p:nvPr userDrawn="1">
            <p:ph type="body" sz="quarter" idx="21" hasCustomPrompt="1"/>
          </p:nvPr>
        </p:nvSpPr>
        <p:spPr>
          <a:xfrm>
            <a:off x="519113" y="423689"/>
            <a:ext cx="2738030"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ro"/>
              <a:t>Fullsize picture</a:t>
            </a:r>
          </a:p>
        </p:txBody>
      </p:sp>
      <p:sp>
        <p:nvSpPr>
          <p:cNvPr id="47" name="Textplatzhalter 10">
            <a:extLst>
              <a:ext uri="{FF2B5EF4-FFF2-40B4-BE49-F238E27FC236}">
                <a16:creationId xmlns:a16="http://schemas.microsoft.com/office/drawing/2014/main" id="{F3EA6705-F654-4156-B170-2B1D3B7E0740}"/>
              </a:ext>
            </a:extLst>
          </p:cNvPr>
          <p:cNvSpPr>
            <a:spLocks noGrp="1"/>
          </p:cNvSpPr>
          <p:nvPr userDrawn="1">
            <p:ph type="body" sz="quarter" idx="22" hasCustomPrompt="1"/>
          </p:nvPr>
        </p:nvSpPr>
        <p:spPr>
          <a:xfrm>
            <a:off x="519113" y="1122390"/>
            <a:ext cx="5743661"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ro"/>
              <a:t>with taped headline and blue box</a:t>
            </a:r>
          </a:p>
        </p:txBody>
      </p:sp>
      <p:sp>
        <p:nvSpPr>
          <p:cNvPr id="48" name="Textplatzhalter 10">
            <a:extLst>
              <a:ext uri="{FF2B5EF4-FFF2-40B4-BE49-F238E27FC236}">
                <a16:creationId xmlns:a16="http://schemas.microsoft.com/office/drawing/2014/main" id="{C632BAF7-1F32-42F7-AEEB-80CDCFA2AF5A}"/>
              </a:ext>
            </a:extLst>
          </p:cNvPr>
          <p:cNvSpPr>
            <a:spLocks noGrp="1"/>
          </p:cNvSpPr>
          <p:nvPr userDrawn="1">
            <p:ph type="body" sz="quarter" idx="23" hasCustomPrompt="1"/>
          </p:nvPr>
        </p:nvSpPr>
        <p:spPr>
          <a:xfrm>
            <a:off x="519113" y="1821091"/>
            <a:ext cx="3246182"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ro"/>
              <a:t>Arial Narrow 36 pt</a:t>
            </a:r>
            <a:endParaRPr lang="en-GB"/>
          </a:p>
        </p:txBody>
      </p:sp>
      <p:sp>
        <p:nvSpPr>
          <p:cNvPr id="2" name="Rechteck 1">
            <a:extLst>
              <a:ext uri="{FF2B5EF4-FFF2-40B4-BE49-F238E27FC236}">
                <a16:creationId xmlns:a16="http://schemas.microsoft.com/office/drawing/2014/main" id="{5EA87C2B-ED5B-212C-5047-9A7F626C987A}"/>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 name="Rechteck 2">
            <a:extLst>
              <a:ext uri="{FF2B5EF4-FFF2-40B4-BE49-F238E27FC236}">
                <a16:creationId xmlns:a16="http://schemas.microsoft.com/office/drawing/2014/main" id="{031A55DB-8DF8-DD27-67F1-5EB34780DEFF}"/>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4" name="Datumsplatzhalter 3">
            <a:extLst>
              <a:ext uri="{FF2B5EF4-FFF2-40B4-BE49-F238E27FC236}">
                <a16:creationId xmlns:a16="http://schemas.microsoft.com/office/drawing/2014/main" id="{B6A70798-5B5D-082B-03CB-2A9C76FA5DE0}"/>
              </a:ext>
            </a:extLst>
          </p:cNvPr>
          <p:cNvSpPr>
            <a:spLocks noGrp="1"/>
          </p:cNvSpPr>
          <p:nvPr>
            <p:ph type="dt" sz="half" idx="25"/>
          </p:nvPr>
        </p:nvSpPr>
        <p:spPr/>
        <p:txBody>
          <a:bodyPr rtlCol="0"/>
          <a:lstStyle/>
          <a:p>
            <a:pPr rtl="0"/>
            <a:endParaRPr lang="en-US"/>
          </a:p>
        </p:txBody>
      </p:sp>
      <p:sp>
        <p:nvSpPr>
          <p:cNvPr id="6" name="Fußzeilenplatzhalter 5">
            <a:extLst>
              <a:ext uri="{FF2B5EF4-FFF2-40B4-BE49-F238E27FC236}">
                <a16:creationId xmlns:a16="http://schemas.microsoft.com/office/drawing/2014/main" id="{84CD75E5-3C3E-2237-F80D-8CE6C235E169}"/>
              </a:ext>
            </a:extLst>
          </p:cNvPr>
          <p:cNvSpPr>
            <a:spLocks noGrp="1"/>
          </p:cNvSpPr>
          <p:nvPr>
            <p:ph type="ftr" sz="quarter" idx="26"/>
          </p:nvPr>
        </p:nvSpPr>
        <p:spPr/>
        <p:txBody>
          <a:bodyPr rtlCol="0"/>
          <a:lstStyle/>
          <a:p>
            <a:pPr rtl="0"/>
            <a:endParaRPr lang="en-US"/>
          </a:p>
        </p:txBody>
      </p:sp>
      <p:sp>
        <p:nvSpPr>
          <p:cNvPr id="7" name="Foliennummernplatzhalter 6">
            <a:extLst>
              <a:ext uri="{FF2B5EF4-FFF2-40B4-BE49-F238E27FC236}">
                <a16:creationId xmlns:a16="http://schemas.microsoft.com/office/drawing/2014/main" id="{403E7450-B09A-88EF-8B9B-2539059C2D3F}"/>
              </a:ext>
            </a:extLst>
          </p:cNvPr>
          <p:cNvSpPr>
            <a:spLocks noGrp="1"/>
          </p:cNvSpPr>
          <p:nvPr>
            <p:ph type="sldNum" sz="quarter" idx="27"/>
          </p:nvPr>
        </p:nvSpPr>
        <p:spPr/>
        <p:txBody>
          <a:bodyPr rtlCol="0"/>
          <a:lstStyle/>
          <a:p>
            <a:pPr rtl="0"/>
            <a:r>
              <a:rPr lang="ro"/>
              <a:t>- </a:t>
            </a:r>
            <a:fld id="{94A6D44E-0BF8-4A10-A708-3AB32E33FA71}" type="slidenum">
              <a:rPr lang="en-US" smtClean="0"/>
              <a:t>‹nr.›</a:t>
            </a:fld>
            <a:r>
              <a:rPr lang="ro"/>
              <a:t> -</a:t>
            </a:r>
          </a:p>
        </p:txBody>
      </p:sp>
    </p:spTree>
    <p:custDataLst>
      <p:tags r:id="rId2"/>
    </p:custDataLst>
    <p:extLst>
      <p:ext uri="{BB962C8B-B14F-4D97-AF65-F5344CB8AC3E}">
        <p14:creationId xmlns:p14="http://schemas.microsoft.com/office/powerpoint/2010/main" val="2220662995"/>
      </p:ext>
    </p:extLst>
  </p:cSld>
  <p:clrMapOvr>
    <a:masterClrMapping/>
  </p:clrMapOvr>
  <p:extLst>
    <p:ext uri="{DCECCB84-F9BA-43D5-87BE-67443E8EF086}">
      <p15:sldGuideLst xmlns:p15="http://schemas.microsoft.com/office/powerpoint/2012/main">
        <p15:guide id="1" pos="3910">
          <p15:clr>
            <a:srgbClr val="FBAE40"/>
          </p15:clr>
        </p15:guide>
        <p15:guide id="2" pos="3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ullsize picture with taped headline and left blue box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8038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5"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B0C7A94F-04B9-2F6B-877A-DEB0C9521375}"/>
              </a:ext>
            </a:extLst>
          </p:cNvPr>
          <p:cNvSpPr>
            <a:spLocks noGrp="1"/>
          </p:cNvSpPr>
          <p:nvPr>
            <p:ph type="pic" sz="quarter" idx="20" hasCustomPrompt="1"/>
          </p:nvPr>
        </p:nvSpPr>
        <p:spPr>
          <a:xfrm>
            <a:off x="0" y="1"/>
            <a:ext cx="12198350" cy="6354763"/>
          </a:xfrm>
          <a:custGeom>
            <a:avLst/>
            <a:gdLst>
              <a:gd name="connsiteX0" fmla="*/ 10714588 w 12198350"/>
              <a:gd name="connsiteY0" fmla="*/ 263197 h 6354763"/>
              <a:gd name="connsiteX1" fmla="*/ 10714588 w 12198350"/>
              <a:gd name="connsiteY1" fmla="*/ 638831 h 6354763"/>
              <a:gd name="connsiteX2" fmla="*/ 11933140 w 12198350"/>
              <a:gd name="connsiteY2" fmla="*/ 638831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714588" y="263197"/>
                </a:moveTo>
                <a:lnTo>
                  <a:pt x="10714588" y="638831"/>
                </a:lnTo>
                <a:lnTo>
                  <a:pt x="11933140" y="638831"/>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49" name="Textplatzhalter 10">
            <a:extLst>
              <a:ext uri="{FF2B5EF4-FFF2-40B4-BE49-F238E27FC236}">
                <a16:creationId xmlns:a16="http://schemas.microsoft.com/office/drawing/2014/main" id="{CF627B6D-F8FD-450F-AE50-0B5CA1E520DD}"/>
              </a:ext>
            </a:extLst>
          </p:cNvPr>
          <p:cNvSpPr>
            <a:spLocks noGrp="1"/>
          </p:cNvSpPr>
          <p:nvPr>
            <p:ph type="body" sz="quarter" idx="24" hasCustomPrompt="1"/>
          </p:nvPr>
        </p:nvSpPr>
        <p:spPr>
          <a:xfrm>
            <a:off x="519113" y="4093125"/>
            <a:ext cx="5508625" cy="2250525"/>
          </a:xfrm>
          <a:solidFill>
            <a:schemeClr val="accent5"/>
          </a:solidFill>
        </p:spPr>
        <p:txBody>
          <a:bodyPr lIns="288000" tIns="180000" rIns="288000" bIns="540000" rtlCol="0" anchor="b">
            <a:spAutoFit/>
          </a:bodyPr>
          <a:lstStyle>
            <a:lvl1pPr marL="0" indent="0" rtl="0">
              <a:spcAft>
                <a:spcPts val="600"/>
              </a:spcAft>
              <a:buClr>
                <a:schemeClr val="bg1"/>
              </a:buClr>
              <a:buNone/>
              <a:defRPr sz="1400" b="1">
                <a:solidFill>
                  <a:schemeClr val="bg1"/>
                </a:solidFill>
              </a:defRPr>
            </a:lvl1pPr>
            <a:lvl2pPr marL="0" indent="0" rtl="0">
              <a:buClr>
                <a:schemeClr val="bg1"/>
              </a:buClr>
              <a:buNone/>
              <a:defRPr sz="1400">
                <a:solidFill>
                  <a:schemeClr val="bg1"/>
                </a:solidFill>
              </a:defRPr>
            </a:lvl2pPr>
            <a:lvl3pPr marL="180975" indent="-180975" rtl="0">
              <a:buClr>
                <a:schemeClr val="bg1"/>
              </a:buClr>
              <a:defRPr sz="1400">
                <a:solidFill>
                  <a:schemeClr val="bg1"/>
                </a:solidFill>
              </a:defRPr>
            </a:lvl3pPr>
            <a:lvl4pPr marL="355600" indent="-177800" rtl="0">
              <a:buClr>
                <a:schemeClr val="bg1"/>
              </a:buClr>
              <a:defRPr sz="1400">
                <a:solidFill>
                  <a:schemeClr val="bg1"/>
                </a:solidFill>
              </a:defRPr>
            </a:lvl4pPr>
            <a:lvl5pPr marL="533400" indent="-180975" defTabSz="1257300" rtl="0">
              <a:buClr>
                <a:schemeClr val="bg1"/>
              </a:buClr>
              <a:defRPr sz="1400">
                <a:solidFill>
                  <a:schemeClr val="bg1"/>
                </a:solidFill>
              </a:defRPr>
            </a:lvl5pPr>
          </a:lstStyle>
          <a:p>
            <a:pPr lvl="0" rtl="0"/>
            <a:r>
              <a:rPr lang="ro" noProof="0"/>
              <a:t>Content text, Arial Regular 14 pt</a:t>
            </a:r>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endParaRPr lang="en-GB"/>
          </a:p>
        </p:txBody>
      </p:sp>
      <p:grpSp>
        <p:nvGrpSpPr>
          <p:cNvPr id="5" name="Gruppieren 4">
            <a:extLst>
              <a:ext uri="{FF2B5EF4-FFF2-40B4-BE49-F238E27FC236}">
                <a16:creationId xmlns:a16="http://schemas.microsoft.com/office/drawing/2014/main" id="{015ACC96-461E-3DF4-4D77-4EC452E789B6}"/>
              </a:ext>
            </a:extLst>
          </p:cNvPr>
          <p:cNvGrpSpPr/>
          <p:nvPr userDrawn="1"/>
        </p:nvGrpSpPr>
        <p:grpSpPr>
          <a:xfrm>
            <a:off x="10741633" y="290242"/>
            <a:ext cx="1164461" cy="321542"/>
            <a:chOff x="10741633" y="290242"/>
            <a:chExt cx="1164461" cy="321542"/>
          </a:xfrm>
        </p:grpSpPr>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6D65ADA0-BCDB-49B9-A600-CB5C28128788}"/>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0" name="AutoShape 4">
              <a:extLst>
                <a:ext uri="{FF2B5EF4-FFF2-40B4-BE49-F238E27FC236}">
                  <a16:creationId xmlns:a16="http://schemas.microsoft.com/office/drawing/2014/main" id="{FC91D32B-D072-41CF-8A5D-9797D61ADCF2}"/>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6">
              <a:extLst>
                <a:ext uri="{FF2B5EF4-FFF2-40B4-BE49-F238E27FC236}">
                  <a16:creationId xmlns:a16="http://schemas.microsoft.com/office/drawing/2014/main" id="{7B266785-2FF9-4C19-86F3-E1758AB6B130}"/>
                </a:ext>
              </a:extLst>
            </p:cNvPr>
            <p:cNvSpPr>
              <a:spLocks noEditPoints="1"/>
            </p:cNvSpPr>
            <p:nvPr/>
          </p:nvSpPr>
          <p:spPr bwMode="auto">
            <a:xfrm>
              <a:off x="10741633" y="290242"/>
              <a:ext cx="1091118" cy="321542"/>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42" name="Freeform 7">
              <a:extLst>
                <a:ext uri="{FF2B5EF4-FFF2-40B4-BE49-F238E27FC236}">
                  <a16:creationId xmlns:a16="http://schemas.microsoft.com/office/drawing/2014/main" id="{E6654076-856E-4CC5-9221-71E66814A2BD}"/>
                </a:ext>
              </a:extLst>
            </p:cNvPr>
            <p:cNvSpPr>
              <a:spLocks/>
            </p:cNvSpPr>
            <p:nvPr/>
          </p:nvSpPr>
          <p:spPr bwMode="auto">
            <a:xfrm>
              <a:off x="11589598" y="381129"/>
              <a:ext cx="6865" cy="6880"/>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3" name="Freeform 8">
              <a:extLst>
                <a:ext uri="{FF2B5EF4-FFF2-40B4-BE49-F238E27FC236}">
                  <a16:creationId xmlns:a16="http://schemas.microsoft.com/office/drawing/2014/main" id="{642723F8-486D-4DB0-8993-92774E6A6507}"/>
                </a:ext>
              </a:extLst>
            </p:cNvPr>
            <p:cNvSpPr>
              <a:spLocks/>
            </p:cNvSpPr>
            <p:nvPr/>
          </p:nvSpPr>
          <p:spPr bwMode="auto">
            <a:xfrm>
              <a:off x="11053794" y="401044"/>
              <a:ext cx="96466" cy="36934"/>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4" name="Freeform 9">
              <a:extLst>
                <a:ext uri="{FF2B5EF4-FFF2-40B4-BE49-F238E27FC236}">
                  <a16:creationId xmlns:a16="http://schemas.microsoft.com/office/drawing/2014/main" id="{00698954-9B67-4B1A-A7E4-9A38C27306E8}"/>
                </a:ext>
              </a:extLst>
            </p:cNvPr>
            <p:cNvSpPr>
              <a:spLocks noEditPoints="1"/>
            </p:cNvSpPr>
            <p:nvPr/>
          </p:nvSpPr>
          <p:spPr bwMode="auto">
            <a:xfrm>
              <a:off x="11575146" y="370990"/>
              <a:ext cx="35046" cy="35848"/>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5" name="Freeform 10">
              <a:extLst>
                <a:ext uri="{FF2B5EF4-FFF2-40B4-BE49-F238E27FC236}">
                  <a16:creationId xmlns:a16="http://schemas.microsoft.com/office/drawing/2014/main" id="{D42B1DAA-5AD5-4FC6-B6ED-8AEAE546AEC0}"/>
                </a:ext>
              </a:extLst>
            </p:cNvPr>
            <p:cNvSpPr>
              <a:spLocks/>
            </p:cNvSpPr>
            <p:nvPr/>
          </p:nvSpPr>
          <p:spPr bwMode="auto">
            <a:xfrm>
              <a:off x="11407143" y="468394"/>
              <a:ext cx="76595" cy="73144"/>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6" name="Freeform 11">
              <a:extLst>
                <a:ext uri="{FF2B5EF4-FFF2-40B4-BE49-F238E27FC236}">
                  <a16:creationId xmlns:a16="http://schemas.microsoft.com/office/drawing/2014/main" id="{280FFF07-90CD-4FA8-83BA-8C39C8719D99}"/>
                </a:ext>
              </a:extLst>
            </p:cNvPr>
            <p:cNvSpPr>
              <a:spLocks/>
            </p:cNvSpPr>
            <p:nvPr/>
          </p:nvSpPr>
          <p:spPr bwMode="auto">
            <a:xfrm>
              <a:off x="11576230" y="290242"/>
              <a:ext cx="329864" cy="321542"/>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11" name="Textplatzhalter 10">
            <a:extLst>
              <a:ext uri="{FF2B5EF4-FFF2-40B4-BE49-F238E27FC236}">
                <a16:creationId xmlns:a16="http://schemas.microsoft.com/office/drawing/2014/main" id="{0C682E0C-B1BE-4B20-975E-B40F7DFC322E}"/>
              </a:ext>
            </a:extLst>
          </p:cNvPr>
          <p:cNvSpPr>
            <a:spLocks noGrp="1"/>
          </p:cNvSpPr>
          <p:nvPr userDrawn="1">
            <p:ph type="body" sz="quarter" idx="21" hasCustomPrompt="1"/>
          </p:nvPr>
        </p:nvSpPr>
        <p:spPr>
          <a:xfrm>
            <a:off x="519113" y="423689"/>
            <a:ext cx="2738030"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ro"/>
              <a:t>Fullsize picture</a:t>
            </a:r>
          </a:p>
        </p:txBody>
      </p:sp>
      <p:sp>
        <p:nvSpPr>
          <p:cNvPr id="47" name="Textplatzhalter 10">
            <a:extLst>
              <a:ext uri="{FF2B5EF4-FFF2-40B4-BE49-F238E27FC236}">
                <a16:creationId xmlns:a16="http://schemas.microsoft.com/office/drawing/2014/main" id="{F3EA6705-F654-4156-B170-2B1D3B7E0740}"/>
              </a:ext>
            </a:extLst>
          </p:cNvPr>
          <p:cNvSpPr>
            <a:spLocks noGrp="1"/>
          </p:cNvSpPr>
          <p:nvPr userDrawn="1">
            <p:ph type="body" sz="quarter" idx="22" hasCustomPrompt="1"/>
          </p:nvPr>
        </p:nvSpPr>
        <p:spPr>
          <a:xfrm>
            <a:off x="519113" y="1122390"/>
            <a:ext cx="5743661"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ro"/>
              <a:t>with taped headline and blue box</a:t>
            </a:r>
          </a:p>
        </p:txBody>
      </p:sp>
      <p:sp>
        <p:nvSpPr>
          <p:cNvPr id="48" name="Textplatzhalter 10">
            <a:extLst>
              <a:ext uri="{FF2B5EF4-FFF2-40B4-BE49-F238E27FC236}">
                <a16:creationId xmlns:a16="http://schemas.microsoft.com/office/drawing/2014/main" id="{C632BAF7-1F32-42F7-AEEB-80CDCFA2AF5A}"/>
              </a:ext>
            </a:extLst>
          </p:cNvPr>
          <p:cNvSpPr>
            <a:spLocks noGrp="1"/>
          </p:cNvSpPr>
          <p:nvPr userDrawn="1">
            <p:ph type="body" sz="quarter" idx="23" hasCustomPrompt="1"/>
          </p:nvPr>
        </p:nvSpPr>
        <p:spPr>
          <a:xfrm>
            <a:off x="519113" y="1821091"/>
            <a:ext cx="3246182"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ro"/>
              <a:t>Arial Narrow 36 pt</a:t>
            </a:r>
            <a:endParaRPr lang="en-GB"/>
          </a:p>
        </p:txBody>
      </p:sp>
      <p:sp>
        <p:nvSpPr>
          <p:cNvPr id="2" name="Rechteck 1">
            <a:extLst>
              <a:ext uri="{FF2B5EF4-FFF2-40B4-BE49-F238E27FC236}">
                <a16:creationId xmlns:a16="http://schemas.microsoft.com/office/drawing/2014/main" id="{161261F1-AB92-E851-FA11-E1472E85A1A6}"/>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 name="Rechteck 2">
            <a:extLst>
              <a:ext uri="{FF2B5EF4-FFF2-40B4-BE49-F238E27FC236}">
                <a16:creationId xmlns:a16="http://schemas.microsoft.com/office/drawing/2014/main" id="{65B12D1B-C10D-D226-B5F5-C13F6740B46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Datumsplatzhalter 6">
            <a:extLst>
              <a:ext uri="{FF2B5EF4-FFF2-40B4-BE49-F238E27FC236}">
                <a16:creationId xmlns:a16="http://schemas.microsoft.com/office/drawing/2014/main" id="{1ACDF957-E800-9230-E235-3B2EE7329623}"/>
              </a:ext>
            </a:extLst>
          </p:cNvPr>
          <p:cNvSpPr>
            <a:spLocks noGrp="1"/>
          </p:cNvSpPr>
          <p:nvPr>
            <p:ph type="dt" sz="half" idx="25"/>
          </p:nvPr>
        </p:nvSpPr>
        <p:spPr/>
        <p:txBody>
          <a:bodyPr rtlCol="0"/>
          <a:lstStyle/>
          <a:p>
            <a:pPr rtl="0"/>
            <a:endParaRPr lang="en-US"/>
          </a:p>
        </p:txBody>
      </p:sp>
      <p:sp>
        <p:nvSpPr>
          <p:cNvPr id="8" name="Fußzeilenplatzhalter 7">
            <a:extLst>
              <a:ext uri="{FF2B5EF4-FFF2-40B4-BE49-F238E27FC236}">
                <a16:creationId xmlns:a16="http://schemas.microsoft.com/office/drawing/2014/main" id="{CCEB01B8-7CD3-3849-0B01-8DACBDEDF7C4}"/>
              </a:ext>
            </a:extLst>
          </p:cNvPr>
          <p:cNvSpPr>
            <a:spLocks noGrp="1"/>
          </p:cNvSpPr>
          <p:nvPr>
            <p:ph type="ftr" sz="quarter" idx="26"/>
          </p:nvPr>
        </p:nvSpPr>
        <p:spPr/>
        <p:txBody>
          <a:bodyPr rtlCol="0"/>
          <a:lstStyle/>
          <a:p>
            <a:pPr rtl="0"/>
            <a:endParaRPr lang="en-US"/>
          </a:p>
        </p:txBody>
      </p:sp>
      <p:sp>
        <p:nvSpPr>
          <p:cNvPr id="9" name="Foliennummernplatzhalter 8">
            <a:extLst>
              <a:ext uri="{FF2B5EF4-FFF2-40B4-BE49-F238E27FC236}">
                <a16:creationId xmlns:a16="http://schemas.microsoft.com/office/drawing/2014/main" id="{A57FE8F5-B880-9DAF-929A-EE2A1A4E7A1F}"/>
              </a:ext>
            </a:extLst>
          </p:cNvPr>
          <p:cNvSpPr>
            <a:spLocks noGrp="1"/>
          </p:cNvSpPr>
          <p:nvPr>
            <p:ph type="sldNum" sz="quarter" idx="27"/>
          </p:nvPr>
        </p:nvSpPr>
        <p:spPr/>
        <p:txBody>
          <a:bodyPr rtlCol="0"/>
          <a:lstStyle/>
          <a:p>
            <a:pPr rtl="0"/>
            <a:r>
              <a:rPr lang="ro"/>
              <a:t>- </a:t>
            </a:r>
            <a:fld id="{94A6D44E-0BF8-4A10-A708-3AB32E33FA71}" type="slidenum">
              <a:rPr lang="en-US" smtClean="0"/>
              <a:t>‹nr.›</a:t>
            </a:fld>
            <a:r>
              <a:rPr lang="ro"/>
              <a:t> -</a:t>
            </a:r>
          </a:p>
        </p:txBody>
      </p:sp>
    </p:spTree>
    <p:custDataLst>
      <p:tags r:id="rId2"/>
    </p:custDataLst>
    <p:extLst>
      <p:ext uri="{BB962C8B-B14F-4D97-AF65-F5344CB8AC3E}">
        <p14:creationId xmlns:p14="http://schemas.microsoft.com/office/powerpoint/2010/main" val="4124994332"/>
      </p:ext>
    </p:extLst>
  </p:cSld>
  <p:clrMapOvr>
    <a:masterClrMapping/>
  </p:clrMapOvr>
  <p:extLst>
    <p:ext uri="{DCECCB84-F9BA-43D5-87BE-67443E8EF086}">
      <p15:sldGuideLst xmlns:p15="http://schemas.microsoft.com/office/powerpoint/2012/main">
        <p15:guide id="1" pos="3797">
          <p15:clr>
            <a:srgbClr val="FBAE40"/>
          </p15:clr>
        </p15:guide>
        <p15:guide id="2" pos="3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size picture with blue box">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7674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1C4141F1-6704-A2E6-74FA-F9C2EC8B1A91}"/>
              </a:ext>
            </a:extLst>
          </p:cNvPr>
          <p:cNvSpPr>
            <a:spLocks noGrp="1"/>
          </p:cNvSpPr>
          <p:nvPr>
            <p:ph type="pic" sz="quarter" idx="20" hasCustomPrompt="1"/>
          </p:nvPr>
        </p:nvSpPr>
        <p:spPr>
          <a:xfrm>
            <a:off x="0" y="1"/>
            <a:ext cx="12198350" cy="6354665"/>
          </a:xfrm>
          <a:custGeom>
            <a:avLst/>
            <a:gdLst>
              <a:gd name="connsiteX0" fmla="*/ 10714588 w 12198350"/>
              <a:gd name="connsiteY0" fmla="*/ 263197 h 6354665"/>
              <a:gd name="connsiteX1" fmla="*/ 10714588 w 12198350"/>
              <a:gd name="connsiteY1" fmla="*/ 638831 h 6354665"/>
              <a:gd name="connsiteX2" fmla="*/ 11933140 w 12198350"/>
              <a:gd name="connsiteY2" fmla="*/ 638831 h 6354665"/>
              <a:gd name="connsiteX3" fmla="*/ 11933140 w 12198350"/>
              <a:gd name="connsiteY3" fmla="*/ 263197 h 6354665"/>
              <a:gd name="connsiteX4" fmla="*/ 5283199 w 12198350"/>
              <a:gd name="connsiteY4" fmla="*/ 0 h 6354665"/>
              <a:gd name="connsiteX5" fmla="*/ 12198350 w 12198350"/>
              <a:gd name="connsiteY5" fmla="*/ 0 h 6354665"/>
              <a:gd name="connsiteX6" fmla="*/ 12198350 w 12198350"/>
              <a:gd name="connsiteY6" fmla="*/ 6354665 h 6354665"/>
              <a:gd name="connsiteX7" fmla="*/ 0 w 12198350"/>
              <a:gd name="connsiteY7" fmla="*/ 6354665 h 6354665"/>
              <a:gd name="connsiteX8" fmla="*/ 0 w 12198350"/>
              <a:gd name="connsiteY8" fmla="*/ 3429000 h 6354665"/>
              <a:gd name="connsiteX9" fmla="*/ 5283199 w 12198350"/>
              <a:gd name="connsiteY9" fmla="*/ 3429000 h 63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6354665">
                <a:moveTo>
                  <a:pt x="10714588" y="263197"/>
                </a:moveTo>
                <a:lnTo>
                  <a:pt x="10714588" y="638831"/>
                </a:lnTo>
                <a:lnTo>
                  <a:pt x="11933140" y="638831"/>
                </a:lnTo>
                <a:lnTo>
                  <a:pt x="11933140" y="263197"/>
                </a:lnTo>
                <a:close/>
                <a:moveTo>
                  <a:pt x="5283199" y="0"/>
                </a:moveTo>
                <a:lnTo>
                  <a:pt x="12198350" y="0"/>
                </a:lnTo>
                <a:lnTo>
                  <a:pt x="12198350" y="6354665"/>
                </a:lnTo>
                <a:lnTo>
                  <a:pt x="0" y="6354665"/>
                </a:lnTo>
                <a:lnTo>
                  <a:pt x="0" y="3429000"/>
                </a:lnTo>
                <a:lnTo>
                  <a:pt x="5283199" y="3429000"/>
                </a:lnTo>
                <a:close/>
              </a:path>
            </a:pathLst>
          </a:custGeom>
          <a:solidFill>
            <a:schemeClr val="bg2"/>
          </a:solidFill>
        </p:spPr>
        <p:txBody>
          <a:bodyPr wrap="square" rtlCol="0" anchor="ctr">
            <a:noAutofit/>
          </a:bodyPr>
          <a:lstStyle>
            <a:lvl1pPr marL="0" indent="0" algn="ctr">
              <a:buNone/>
              <a:defRPr b="0"/>
            </a:lvl1pPr>
          </a:lstStyle>
          <a:p>
            <a:pPr rtl="0"/>
            <a:br>
              <a:rPr lang="en-GB" noProof="0"/>
            </a:br>
            <a:br>
              <a:rPr lang="en-GB" noProof="0"/>
            </a:br>
            <a:br>
              <a:rPr lang="en-GB" noProof="0"/>
            </a:br>
            <a:r>
              <a:rPr lang="ro" noProof="0"/>
              <a:t>Please insert an image</a:t>
            </a:r>
            <a:endParaRPr lang="en-GB"/>
          </a:p>
        </p:txBody>
      </p:sp>
      <p:sp>
        <p:nvSpPr>
          <p:cNvPr id="7" name="Rechteck 6">
            <a:extLst>
              <a:ext uri="{FF2B5EF4-FFF2-40B4-BE49-F238E27FC236}">
                <a16:creationId xmlns:a16="http://schemas.microsoft.com/office/drawing/2014/main" id="{999AB3E9-5D9E-4993-B8A7-CCB02F23F5AA}"/>
              </a:ext>
            </a:extLst>
          </p:cNvPr>
          <p:cNvSpPr/>
          <p:nvPr userDrawn="1"/>
        </p:nvSpPr>
        <p:spPr>
          <a:xfrm>
            <a:off x="0" y="0"/>
            <a:ext cx="5283199"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a:solidFill>
                <a:schemeClr val="tx1"/>
              </a:solidFill>
              <a:latin typeface="Arial" panose="020B0604020202020204" pitchFamily="34" charset="0"/>
              <a:cs typeface="Arial" panose="020B0604020202020204" pitchFamily="34" charset="0"/>
            </a:endParaRPr>
          </a:p>
        </p:txBody>
      </p:sp>
      <p:sp>
        <p:nvSpPr>
          <p:cNvPr id="2" name="Datumsplatzhalter 1">
            <a:extLst>
              <a:ext uri="{FF2B5EF4-FFF2-40B4-BE49-F238E27FC236}">
                <a16:creationId xmlns:a16="http://schemas.microsoft.com/office/drawing/2014/main" id="{4F2AB175-9BC9-42CC-9E51-6D28E2981852}"/>
              </a:ext>
            </a:extLst>
          </p:cNvPr>
          <p:cNvSpPr>
            <a:spLocks noGrp="1"/>
          </p:cNvSpPr>
          <p:nvPr>
            <p:ph type="dt" sz="half" idx="16"/>
          </p:nvPr>
        </p:nvSpPr>
        <p:spPr/>
        <p:txBody>
          <a:bodyPr rtlCol="0"/>
          <a:lstStyle>
            <a:lvl1pPr rtl="0">
              <a:defRPr>
                <a:solidFill>
                  <a:schemeClr val="tx2"/>
                </a:solidFill>
              </a:defRPr>
            </a:lvl1pPr>
          </a:lstStyle>
          <a:p>
            <a:pPr rtl="0"/>
            <a:endParaRPr lang="en-GB"/>
          </a:p>
        </p:txBody>
      </p:sp>
      <p:sp>
        <p:nvSpPr>
          <p:cNvPr id="3" name="Fußzeilenplatzhalter 2">
            <a:extLst>
              <a:ext uri="{FF2B5EF4-FFF2-40B4-BE49-F238E27FC236}">
                <a16:creationId xmlns:a16="http://schemas.microsoft.com/office/drawing/2014/main" id="{09A2A73A-E66E-4BD1-9F49-87B248C8C195}"/>
              </a:ext>
            </a:extLst>
          </p:cNvPr>
          <p:cNvSpPr>
            <a:spLocks noGrp="1"/>
          </p:cNvSpPr>
          <p:nvPr>
            <p:ph type="ftr" sz="quarter" idx="17"/>
          </p:nvPr>
        </p:nvSpPr>
        <p:spPr/>
        <p:txBody>
          <a:bodyPr rtlCol="0"/>
          <a:lstStyle>
            <a:lvl1pPr rtl="0">
              <a:defRPr>
                <a:solidFill>
                  <a:schemeClr val="tx2"/>
                </a:solidFill>
              </a:defRPr>
            </a:lvl1pPr>
          </a:lstStyle>
          <a:p>
            <a:pPr rtl="0"/>
            <a:endParaRPr lang="en-GB"/>
          </a:p>
        </p:txBody>
      </p:sp>
      <p:sp>
        <p:nvSpPr>
          <p:cNvPr id="4" name="Foliennummernplatzhalter 3">
            <a:extLst>
              <a:ext uri="{FF2B5EF4-FFF2-40B4-BE49-F238E27FC236}">
                <a16:creationId xmlns:a16="http://schemas.microsoft.com/office/drawing/2014/main" id="{C24E7702-4173-4F48-AF29-9C59421F6160}"/>
              </a:ext>
            </a:extLst>
          </p:cNvPr>
          <p:cNvSpPr>
            <a:spLocks noGrp="1"/>
          </p:cNvSpPr>
          <p:nvPr>
            <p:ph type="sldNum" sz="quarter" idx="18"/>
          </p:nvPr>
        </p:nvSpPr>
        <p:spPr/>
        <p:txBody>
          <a:bodyPr rtlCol="0"/>
          <a:lstStyle>
            <a:lvl1pPr rtl="0">
              <a:defRPr>
                <a:solidFill>
                  <a:schemeClr val="tx2"/>
                </a:solidFill>
              </a:defRPr>
            </a:lvl1pPr>
          </a:lstStyle>
          <a:p>
            <a:pPr rtl="0"/>
            <a:r>
              <a:rPr lang="ro"/>
              <a:t>- </a:t>
            </a:r>
            <a:fld id="{94A6D44E-0BF8-4A10-A708-3AB32E33FA71}" type="slidenum">
              <a:rPr lang="en-GB" smtClean="0"/>
              <a:pPr rtl="0"/>
              <a:t>‹nr.›</a:t>
            </a:fld>
            <a:r>
              <a:rPr lang="ro"/>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2" y="401657"/>
            <a:ext cx="4488317" cy="215444"/>
          </a:xfrm>
        </p:spPr>
        <p:txBody>
          <a:bodyPr wrap="square" rtlCol="0">
            <a:spAutoFit/>
          </a:bodyPr>
          <a:lstStyle>
            <a:lvl1pPr marL="0" indent="0" rtl="0">
              <a:buNone/>
              <a:defRPr sz="1400" b="0">
                <a:solidFill>
                  <a:schemeClr val="bg1"/>
                </a:solidFill>
                <a:latin typeface="+mn-lt"/>
              </a:defRPr>
            </a:lvl1pPr>
          </a:lstStyle>
          <a:p>
            <a:pPr lvl="0" rtl="0"/>
            <a:r>
              <a:rPr lang="ro" noProof="0"/>
              <a:t>Subheading, Arial Regular 14 pt</a:t>
            </a:r>
          </a:p>
        </p:txBody>
      </p:sp>
      <p:sp>
        <p:nvSpPr>
          <p:cNvPr id="13" name="Textplatzhalter 7">
            <a:extLst>
              <a:ext uri="{FF2B5EF4-FFF2-40B4-BE49-F238E27FC236}">
                <a16:creationId xmlns:a16="http://schemas.microsoft.com/office/drawing/2014/main" id="{E4D8FE1F-DDE4-4C98-9823-293BA316B7EC}"/>
              </a:ext>
            </a:extLst>
          </p:cNvPr>
          <p:cNvSpPr>
            <a:spLocks noGrp="1"/>
          </p:cNvSpPr>
          <p:nvPr>
            <p:ph type="body" sz="quarter" idx="19" hasCustomPrompt="1"/>
          </p:nvPr>
        </p:nvSpPr>
        <p:spPr>
          <a:xfrm>
            <a:off x="523876" y="1268413"/>
            <a:ext cx="4488317" cy="1661993"/>
          </a:xfrm>
        </p:spPr>
        <p:txBody>
          <a:bodyPr wrap="square" rtlCol="0">
            <a:spAutoFit/>
          </a:bodyPr>
          <a:lstStyle>
            <a:lvl1pPr marL="0" indent="0" rtl="0">
              <a:buNone/>
              <a:defRPr sz="3600" b="0">
                <a:solidFill>
                  <a:schemeClr val="bg1"/>
                </a:solidFill>
                <a:latin typeface="+mj-lt"/>
              </a:defRPr>
            </a:lvl1pPr>
          </a:lstStyle>
          <a:p>
            <a:pPr lvl="0" rtl="0"/>
            <a:r>
              <a:rPr lang="ro"/>
              <a:t>Fullsize picture</a:t>
            </a:r>
            <a:br>
              <a:rPr lang="en-GB"/>
            </a:br>
            <a:r>
              <a:rPr lang="ro"/>
              <a:t>with blue box</a:t>
            </a:r>
            <a:br>
              <a:rPr lang="en-GB"/>
            </a:br>
            <a:r>
              <a:rPr lang="ro"/>
              <a:t>Arial Narrow 36 pt</a:t>
            </a:r>
            <a:endParaRPr lang="en-GB"/>
          </a:p>
        </p:txBody>
      </p:sp>
      <p:sp>
        <p:nvSpPr>
          <p:cNvPr id="5" name="Rechteck 4">
            <a:extLst>
              <a:ext uri="{FF2B5EF4-FFF2-40B4-BE49-F238E27FC236}">
                <a16:creationId xmlns:a16="http://schemas.microsoft.com/office/drawing/2014/main" id="{CD795622-E015-81FD-4657-F99A9F216491}"/>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743E6EF-79E5-27CB-D0BE-CB02A59215E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719968786"/>
      </p:ext>
    </p:extLst>
  </p:cSld>
  <p:clrMapOvr>
    <a:masterClrMapping/>
  </p:clrMapOvr>
  <p:extLst>
    <p:ext uri="{DCECCB84-F9BA-43D5-87BE-67443E8EF086}">
      <p15:sldGuideLst xmlns:p15="http://schemas.microsoft.com/office/powerpoint/2012/main">
        <p15:guide id="3" orient="horz" pos="2160">
          <p15:clr>
            <a:srgbClr val="FBAE40"/>
          </p15:clr>
        </p15:guide>
        <p15:guide id="4" pos="3162">
          <p15:clr>
            <a:srgbClr val="FBAE40"/>
          </p15:clr>
        </p15:guide>
        <p15:guide id="5" pos="3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icture and blue box right with key message 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4251447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FAD2A4E0-9DC2-4537-9EFF-E40EEEE8AF2E}"/>
              </a:ext>
            </a:extLst>
          </p:cNvPr>
          <p:cNvSpPr/>
          <p:nvPr userDrawn="1"/>
        </p:nvSpPr>
        <p:spPr>
          <a:xfrm>
            <a:off x="1" y="0"/>
            <a:ext cx="12198350"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a:solidFill>
                <a:schemeClr val="tx1"/>
              </a:solidFill>
              <a:latin typeface="Arial" panose="020B0604020202020204" pitchFamily="34" charset="0"/>
              <a:cs typeface="Arial" panose="020B0604020202020204" pitchFamily="34" charset="0"/>
            </a:endParaRPr>
          </a:p>
        </p:txBody>
      </p:sp>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0" y="0"/>
            <a:ext cx="6945313" cy="6345238"/>
          </a:xfrm>
          <a:solidFill>
            <a:schemeClr val="bg2"/>
          </a:solidFill>
        </p:spPr>
        <p:txBody>
          <a:bodyPr rtlCol="0" anchor="ct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3" name="Datumsplatzhalter 2"/>
          <p:cNvSpPr>
            <a:spLocks noGrp="1"/>
          </p:cNvSpPr>
          <p:nvPr>
            <p:ph type="dt" sz="half" idx="10"/>
          </p:nvPr>
        </p:nvSpPr>
        <p:spPr/>
        <p:txBody>
          <a:bodyPr rtlCol="0"/>
          <a:lstStyle>
            <a:lvl1pPr rtl="0">
              <a:defRPr>
                <a:solidFill>
                  <a:schemeClr val="tx1"/>
                </a:solidFill>
              </a:defRPr>
            </a:lvl1pPr>
          </a:lstStyle>
          <a:p>
            <a:pPr rtl="0"/>
            <a:endParaRPr lang="en-GB"/>
          </a:p>
        </p:txBody>
      </p:sp>
      <p:sp>
        <p:nvSpPr>
          <p:cNvPr id="4" name="Fußzeilenplatzhalter 3"/>
          <p:cNvSpPr>
            <a:spLocks noGrp="1"/>
          </p:cNvSpPr>
          <p:nvPr>
            <p:ph type="ftr" sz="quarter" idx="11"/>
          </p:nvPr>
        </p:nvSpPr>
        <p:spPr/>
        <p:txBody>
          <a:bodyPr rtlCol="0"/>
          <a:lstStyle>
            <a:lvl1pPr rtl="0">
              <a:defRPr>
                <a:solidFill>
                  <a:schemeClr val="tx2"/>
                </a:solidFill>
              </a:defRPr>
            </a:lvl1pPr>
          </a:lstStyle>
          <a:p>
            <a:pPr rtl="0"/>
            <a:endParaRPr lang="en-GB"/>
          </a:p>
        </p:txBody>
      </p:sp>
      <p:sp>
        <p:nvSpPr>
          <p:cNvPr id="5" name="Foliennummernplatzhalter 4"/>
          <p:cNvSpPr>
            <a:spLocks noGrp="1"/>
          </p:cNvSpPr>
          <p:nvPr>
            <p:ph type="sldNum" sz="quarter" idx="12"/>
          </p:nvPr>
        </p:nvSpPr>
        <p:spPr/>
        <p:txBody>
          <a:bodyPr rtlCol="0"/>
          <a:lstStyle>
            <a:lvl1pPr rtl="0">
              <a:defRPr>
                <a:solidFill>
                  <a:schemeClr val="tx1"/>
                </a:solidFill>
              </a:defRPr>
            </a:lvl1pPr>
          </a:lstStyle>
          <a:p>
            <a:pPr rtl="0"/>
            <a:r>
              <a:rPr lang="ro"/>
              <a:t>- </a:t>
            </a:r>
            <a:fld id="{94A6D44E-0BF8-4A10-A708-3AB32E33FA71}" type="slidenum">
              <a:rPr lang="en-GB" smtClean="0"/>
              <a:pPr rtl="0"/>
              <a:t>‹nr.›</a:t>
            </a:fld>
            <a:r>
              <a:rPr lang="ro"/>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7575550" y="1268413"/>
            <a:ext cx="4357590"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ro"/>
              <a:t>Picture and </a:t>
            </a:r>
            <a:br>
              <a:rPr lang="en-GB"/>
            </a:br>
            <a:r>
              <a:rPr lang="ro"/>
              <a:t>blue box right </a:t>
            </a:r>
            <a:br>
              <a:rPr lang="en-GB"/>
            </a:br>
            <a:r>
              <a:rPr lang="ro"/>
              <a:t>with key message,</a:t>
            </a:r>
            <a:br>
              <a:rPr lang="en-GB"/>
            </a:br>
            <a:r>
              <a:rPr lang="ro"/>
              <a:t>Arial Narrow 36 pt</a:t>
            </a:r>
            <a:endParaRPr lang="en-GB"/>
          </a:p>
        </p:txBody>
      </p:sp>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grpSp>
        <p:nvGrpSpPr>
          <p:cNvPr id="16" name="Gruppieren 15">
            <a:extLst>
              <a:ext uri="{FF2B5EF4-FFF2-40B4-BE49-F238E27FC236}">
                <a16:creationId xmlns:a16="http://schemas.microsoft.com/office/drawing/2014/main" id="{81824780-E074-48FD-84AE-FBB70892ED11}"/>
              </a:ext>
            </a:extLst>
          </p:cNvPr>
          <p:cNvGrpSpPr/>
          <p:nvPr userDrawn="1"/>
        </p:nvGrpSpPr>
        <p:grpSpPr>
          <a:xfrm>
            <a:off x="10714588" y="263197"/>
            <a:ext cx="1218552" cy="375634"/>
            <a:chOff x="7241394" y="191294"/>
            <a:chExt cx="1717661" cy="529490"/>
          </a:xfrm>
        </p:grpSpPr>
        <p:sp>
          <p:nvSpPr>
            <p:cNvPr id="17" name="Rectangle 1069">
              <a:extLst>
                <a:ext uri="{FF2B5EF4-FFF2-40B4-BE49-F238E27FC236}">
                  <a16:creationId xmlns:a16="http://schemas.microsoft.com/office/drawing/2014/main" id="{DAD2F976-6390-43A3-992D-0C4E977B342E}"/>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18" name="AutoShape 4">
              <a:extLst>
                <a:ext uri="{FF2B5EF4-FFF2-40B4-BE49-F238E27FC236}">
                  <a16:creationId xmlns:a16="http://schemas.microsoft.com/office/drawing/2014/main" id="{4D508606-2E7E-4D5A-B74A-257ED0180243}"/>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9" name="Freeform 6">
              <a:extLst>
                <a:ext uri="{FF2B5EF4-FFF2-40B4-BE49-F238E27FC236}">
                  <a16:creationId xmlns:a16="http://schemas.microsoft.com/office/drawing/2014/main" id="{C20B8681-153E-4109-9AAF-BBFB86F40395}"/>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20" name="Freeform 7">
              <a:extLst>
                <a:ext uri="{FF2B5EF4-FFF2-40B4-BE49-F238E27FC236}">
                  <a16:creationId xmlns:a16="http://schemas.microsoft.com/office/drawing/2014/main" id="{37CE3F55-12AF-46EA-967E-38DFA9B4940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2" name="Freeform 8">
              <a:extLst>
                <a:ext uri="{FF2B5EF4-FFF2-40B4-BE49-F238E27FC236}">
                  <a16:creationId xmlns:a16="http://schemas.microsoft.com/office/drawing/2014/main" id="{0EB7D44F-154D-4F0E-B256-48D841FACB54}"/>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3" name="Freeform 9">
              <a:extLst>
                <a:ext uri="{FF2B5EF4-FFF2-40B4-BE49-F238E27FC236}">
                  <a16:creationId xmlns:a16="http://schemas.microsoft.com/office/drawing/2014/main" id="{2348742C-09F9-41E3-9A3D-324DC2AC6E8D}"/>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4" name="Freeform 10">
              <a:extLst>
                <a:ext uri="{FF2B5EF4-FFF2-40B4-BE49-F238E27FC236}">
                  <a16:creationId xmlns:a16="http://schemas.microsoft.com/office/drawing/2014/main" id="{F8A725D7-8088-49EF-8D2D-A5101CB473F1}"/>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5" name="Freeform 11">
              <a:extLst>
                <a:ext uri="{FF2B5EF4-FFF2-40B4-BE49-F238E27FC236}">
                  <a16:creationId xmlns:a16="http://schemas.microsoft.com/office/drawing/2014/main" id="{503F6A22-3145-4AF1-A999-BB44E812B60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2" name="Rechteck 1">
            <a:extLst>
              <a:ext uri="{FF2B5EF4-FFF2-40B4-BE49-F238E27FC236}">
                <a16:creationId xmlns:a16="http://schemas.microsoft.com/office/drawing/2014/main" id="{550D0173-34FA-6910-53C4-8AD9C7606C8D}"/>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Rechteck 6">
            <a:extLst>
              <a:ext uri="{FF2B5EF4-FFF2-40B4-BE49-F238E27FC236}">
                <a16:creationId xmlns:a16="http://schemas.microsoft.com/office/drawing/2014/main" id="{E97673B2-CB5C-758B-9A87-5E3D7ADC9C4A}"/>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11" name="Textplatzhalter 10">
            <a:extLst>
              <a:ext uri="{FF2B5EF4-FFF2-40B4-BE49-F238E27FC236}">
                <a16:creationId xmlns:a16="http://schemas.microsoft.com/office/drawing/2014/main" id="{DFF1D05A-2352-E7CD-4728-A38962F7D919}"/>
              </a:ext>
            </a:extLst>
          </p:cNvPr>
          <p:cNvSpPr>
            <a:spLocks noGrp="1"/>
          </p:cNvSpPr>
          <p:nvPr>
            <p:ph type="body" sz="quarter" idx="25" hasCustomPrompt="1"/>
          </p:nvPr>
        </p:nvSpPr>
        <p:spPr>
          <a:xfrm>
            <a:off x="7575550" y="3716338"/>
            <a:ext cx="4357590" cy="1092607"/>
          </a:xfrm>
        </p:spPr>
        <p:txBody>
          <a:bodyPr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ro"/>
              <a:t>Content text, Arial Regular 14 pt</a:t>
            </a:r>
            <a:endParaRPr lang="de-DE"/>
          </a:p>
          <a:p>
            <a:pPr lvl="1" rtl="0"/>
            <a:r>
              <a:rPr lang="ro"/>
              <a:t>Content bullet</a:t>
            </a:r>
            <a:endParaRPr lang="de-DE"/>
          </a:p>
          <a:p>
            <a:pPr lvl="2" rtl="0"/>
            <a:r>
              <a:rPr lang="ro"/>
              <a:t>Content bullet</a:t>
            </a:r>
            <a:endParaRPr lang="de-DE"/>
          </a:p>
          <a:p>
            <a:pPr lvl="3" rtl="0"/>
            <a:r>
              <a:rPr lang="ro"/>
              <a:t>Content bullet</a:t>
            </a:r>
            <a:endParaRPr lang="en-GB"/>
          </a:p>
        </p:txBody>
      </p:sp>
    </p:spTree>
    <p:custDataLst>
      <p:tags r:id="rId2"/>
    </p:custDataLst>
    <p:extLst>
      <p:ext uri="{BB962C8B-B14F-4D97-AF65-F5344CB8AC3E}">
        <p14:creationId xmlns:p14="http://schemas.microsoft.com/office/powerpoint/2010/main" val="3721054749"/>
      </p:ext>
    </p:extLst>
  </p:cSld>
  <p:clrMapOvr>
    <a:masterClrMapping/>
  </p:clrMapOvr>
  <p:extLst>
    <p:ext uri="{DCECCB84-F9BA-43D5-87BE-67443E8EF086}">
      <p15:sldGuideLst xmlns:p15="http://schemas.microsoft.com/office/powerpoint/2012/main">
        <p15:guide id="2" pos="327">
          <p15:clr>
            <a:srgbClr val="FBAE40"/>
          </p15:clr>
        </p15:guide>
        <p15:guide id="3" pos="47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eft with blue and white box">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77937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7"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1" y="0"/>
            <a:ext cx="6945309" cy="6345238"/>
          </a:xfrm>
          <a:solidFill>
            <a:schemeClr val="bg2"/>
          </a:solidFill>
        </p:spPr>
        <p:txBody>
          <a:bodyPr rtlCol="0" anchor="ct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6945313" y="0"/>
            <a:ext cx="5253036" cy="3430800"/>
          </a:xfrm>
          <a:solidFill>
            <a:schemeClr val="accent5"/>
          </a:solidFill>
        </p:spPr>
        <p:txBody>
          <a:bodyPr rtlCol="0"/>
          <a:lstStyle>
            <a:lvl1pPr>
              <a:defRPr/>
            </a:lvl1pPr>
          </a:lstStyle>
          <a:p>
            <a:pPr lvl="0" rtl="0"/>
            <a:r>
              <a:rPr lang="ro"/>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7569297" y="520020"/>
            <a:ext cx="4357590" cy="1661993"/>
          </a:xfrm>
        </p:spPr>
        <p:txBody>
          <a:bodyPr wrap="square" rtlCol="0">
            <a:spAutoFit/>
          </a:bodyPr>
          <a:lstStyle>
            <a:lvl1pPr marL="0" indent="0" rtl="0">
              <a:spcBef>
                <a:spcPts val="0"/>
              </a:spcBef>
              <a:buNone/>
              <a:defRPr sz="3600" b="0">
                <a:solidFill>
                  <a:schemeClr val="bg1"/>
                </a:solidFill>
                <a:latin typeface="+mj-lt"/>
              </a:defRPr>
            </a:lvl1pPr>
          </a:lstStyle>
          <a:p>
            <a:pPr lvl="0" rtl="0"/>
            <a:r>
              <a:rPr lang="ro"/>
              <a:t>Picture with blue </a:t>
            </a:r>
            <a:br>
              <a:rPr lang="en-GB"/>
            </a:br>
            <a:r>
              <a:rPr lang="ro"/>
              <a:t>and white box right,</a:t>
            </a:r>
            <a:br>
              <a:rPr lang="en-GB"/>
            </a:br>
            <a:r>
              <a:rPr lang="ro"/>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ro"/>
              <a:t> </a:t>
            </a:r>
          </a:p>
        </p:txBody>
      </p:sp>
      <p:sp>
        <p:nvSpPr>
          <p:cNvPr id="4" name="Textplatzhalter 10">
            <a:extLst>
              <a:ext uri="{FF2B5EF4-FFF2-40B4-BE49-F238E27FC236}">
                <a16:creationId xmlns:a16="http://schemas.microsoft.com/office/drawing/2014/main" id="{A79E30F1-9E85-CAAE-C34B-B3A27FD9E6CA}"/>
              </a:ext>
            </a:extLst>
          </p:cNvPr>
          <p:cNvSpPr>
            <a:spLocks noGrp="1"/>
          </p:cNvSpPr>
          <p:nvPr>
            <p:ph type="body" sz="quarter" idx="25" hasCustomPrompt="1"/>
          </p:nvPr>
        </p:nvSpPr>
        <p:spPr>
          <a:xfrm>
            <a:off x="7575550" y="3716338"/>
            <a:ext cx="4357590" cy="1092607"/>
          </a:xfrm>
        </p:spPr>
        <p:txBody>
          <a:bodyPr rtlCol="0">
            <a:sp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rtl="0"/>
            <a:r>
              <a:rPr lang="ro"/>
              <a:t>Content text, Arial Regular 14 pt</a:t>
            </a:r>
            <a:endParaRPr lang="de-DE"/>
          </a:p>
          <a:p>
            <a:pPr lvl="1" rtl="0"/>
            <a:r>
              <a:rPr lang="ro"/>
              <a:t>Content bullet</a:t>
            </a:r>
            <a:endParaRPr lang="de-DE"/>
          </a:p>
          <a:p>
            <a:pPr lvl="2" rtl="0"/>
            <a:r>
              <a:rPr lang="ro"/>
              <a:t>Content bullet</a:t>
            </a:r>
            <a:endParaRPr lang="de-DE"/>
          </a:p>
          <a:p>
            <a:pPr lvl="3" rtl="0"/>
            <a:r>
              <a:rPr lang="ro"/>
              <a:t>Content bullet</a:t>
            </a:r>
            <a:endParaRPr lang="en-GB"/>
          </a:p>
        </p:txBody>
      </p:sp>
    </p:spTree>
    <p:custDataLst>
      <p:tags r:id="rId2"/>
    </p:custDataLst>
    <p:extLst>
      <p:ext uri="{BB962C8B-B14F-4D97-AF65-F5344CB8AC3E}">
        <p14:creationId xmlns:p14="http://schemas.microsoft.com/office/powerpoint/2010/main" val="2386524372"/>
      </p:ext>
    </p:extLst>
  </p:cSld>
  <p:clrMapOvr>
    <a:masterClrMapping/>
  </p:clrMapOvr>
  <p:extLst>
    <p:ext uri="{DCECCB84-F9BA-43D5-87BE-67443E8EF086}">
      <p15:sldGuideLst xmlns:p15="http://schemas.microsoft.com/office/powerpoint/2012/main">
        <p15:guide id="2" pos="327">
          <p15:clr>
            <a:srgbClr val="FBAE40"/>
          </p15:clr>
        </p15:guide>
        <p15:guide id="3" pos="4772">
          <p15:clr>
            <a:srgbClr val="FBAE40"/>
          </p15:clr>
        </p15:guide>
        <p15:guide id="4" pos="309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 text">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09728598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12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C51CA050-1C50-83CB-0901-A001DC62CEFA}"/>
              </a:ext>
            </a:extLst>
          </p:cNvPr>
          <p:cNvSpPr>
            <a:spLocks noGrp="1"/>
          </p:cNvSpPr>
          <p:nvPr>
            <p:ph type="pic" sz="quarter" idx="14" hasCustomPrompt="1"/>
          </p:nvPr>
        </p:nvSpPr>
        <p:spPr>
          <a:xfrm>
            <a:off x="0" y="1"/>
            <a:ext cx="12198350" cy="6354763"/>
          </a:xfrm>
          <a:custGeom>
            <a:avLst/>
            <a:gdLst>
              <a:gd name="connsiteX0" fmla="*/ 10215479 w 12198350"/>
              <a:gd name="connsiteY0" fmla="*/ 263197 h 6354763"/>
              <a:gd name="connsiteX1" fmla="*/ 10215479 w 12198350"/>
              <a:gd name="connsiteY1" fmla="*/ 792687 h 6354763"/>
              <a:gd name="connsiteX2" fmla="*/ 11933140 w 12198350"/>
              <a:gd name="connsiteY2" fmla="*/ 792687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215479" y="263197"/>
                </a:moveTo>
                <a:lnTo>
                  <a:pt x="10215479" y="792687"/>
                </a:lnTo>
                <a:lnTo>
                  <a:pt x="11933140" y="792687"/>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ro"/>
              <a:t>Please insert an image</a:t>
            </a:r>
            <a:br>
              <a:rPr lang="en-GB"/>
            </a:br>
            <a:br>
              <a:rPr lang="en-GB"/>
            </a:br>
            <a:br>
              <a:rPr lang="en-GB"/>
            </a:br>
            <a:br>
              <a:rPr lang="en-GB"/>
            </a:br>
            <a:endParaRPr lang="en-GB"/>
          </a:p>
        </p:txBody>
      </p:sp>
      <p:sp>
        <p:nvSpPr>
          <p:cNvPr id="6" name="Textplatzhalter 5"/>
          <p:cNvSpPr>
            <a:spLocks noGrp="1"/>
          </p:cNvSpPr>
          <p:nvPr>
            <p:ph type="body" sz="quarter" idx="13" hasCustomPrompt="1"/>
          </p:nvPr>
        </p:nvSpPr>
        <p:spPr>
          <a:xfrm>
            <a:off x="519113" y="5884669"/>
            <a:ext cx="11414027" cy="246221"/>
          </a:xfrm>
        </p:spPr>
        <p:txBody>
          <a:bodyPr rtlCol="0">
            <a:noAutofit/>
          </a:bodyPr>
          <a:lstStyle>
            <a:lvl1pPr marL="0" indent="0" rtl="0">
              <a:buNone/>
              <a:defRPr sz="1600" b="0" baseline="0">
                <a:solidFill>
                  <a:schemeClr val="tx1"/>
                </a:solidFill>
              </a:defRPr>
            </a:lvl1pPr>
          </a:lstStyle>
          <a:p>
            <a:pPr lvl="0" rtl="0"/>
            <a:r>
              <a:rPr lang="ro" noProof="0"/>
              <a:t>Subheading, Arial Regular 16 pt</a:t>
            </a:r>
          </a:p>
        </p:txBody>
      </p:sp>
      <p:sp>
        <p:nvSpPr>
          <p:cNvPr id="4" name="Textplatzhalter 3"/>
          <p:cNvSpPr>
            <a:spLocks noGrp="1"/>
          </p:cNvSpPr>
          <p:nvPr>
            <p:ph type="body" sz="quarter" idx="10" hasCustomPrompt="1"/>
          </p:nvPr>
        </p:nvSpPr>
        <p:spPr>
          <a:xfrm>
            <a:off x="519113" y="4508701"/>
            <a:ext cx="11414027" cy="1052596"/>
          </a:xfrm>
          <a:noFill/>
        </p:spPr>
        <p:txBody>
          <a:bodyPr wrap="square" lIns="0" tIns="0" rIns="0" bIns="0" rtlCol="0" anchor="b">
            <a:spAutoFit/>
          </a:bodyPr>
          <a:lstStyle>
            <a:lvl1pPr marL="0" indent="0" rtl="0">
              <a:lnSpc>
                <a:spcPct val="95000"/>
              </a:lnSpc>
              <a:buNone/>
              <a:defRPr sz="3600" b="0" cap="none" baseline="0">
                <a:solidFill>
                  <a:schemeClr val="tx1"/>
                </a:solidFill>
                <a:latin typeface="+mj-lt"/>
              </a:defRPr>
            </a:lvl1pPr>
          </a:lstStyle>
          <a:p>
            <a:pPr rtl="0">
              <a:lnSpc>
                <a:spcPct val="95000"/>
              </a:lnSpc>
            </a:pPr>
            <a:r>
              <a:rPr lang="ro" noProof="0"/>
              <a:t>Title slide dark text, max. 2 lines,</a:t>
            </a:r>
            <a:br>
              <a:rPr lang="en-GB" noProof="0"/>
            </a:br>
            <a:r>
              <a:rPr lang="ro" noProof="0"/>
              <a:t>Arial Narrow 36 pt</a:t>
            </a:r>
          </a:p>
        </p:txBody>
      </p:sp>
      <p:grpSp>
        <p:nvGrpSpPr>
          <p:cNvPr id="54" name="Gruppieren 53">
            <a:extLst>
              <a:ext uri="{FF2B5EF4-FFF2-40B4-BE49-F238E27FC236}">
                <a16:creationId xmlns:a16="http://schemas.microsoft.com/office/drawing/2014/main" id="{A2D76B4F-B453-4AD2-96C5-A617375BB8CE}"/>
              </a:ext>
            </a:extLst>
          </p:cNvPr>
          <p:cNvGrpSpPr/>
          <p:nvPr userDrawn="1"/>
        </p:nvGrpSpPr>
        <p:grpSpPr>
          <a:xfrm>
            <a:off x="10215479" y="263197"/>
            <a:ext cx="1717661" cy="529490"/>
            <a:chOff x="7241394" y="191294"/>
            <a:chExt cx="1717661" cy="529490"/>
          </a:xfrm>
        </p:grpSpPr>
        <p:sp>
          <p:nvSpPr>
            <p:cNvPr id="55" name="Rectangle 1069">
              <a:extLst>
                <a:ext uri="{FF2B5EF4-FFF2-40B4-BE49-F238E27FC236}">
                  <a16:creationId xmlns:a16="http://schemas.microsoft.com/office/drawing/2014/main" id="{77406A79-67EA-4712-AB12-F8A3854A83F1}"/>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56" name="AutoShape 4">
              <a:extLst>
                <a:ext uri="{FF2B5EF4-FFF2-40B4-BE49-F238E27FC236}">
                  <a16:creationId xmlns:a16="http://schemas.microsoft.com/office/drawing/2014/main" id="{317B0D42-B4C7-4308-AFB3-4310F4E2E06E}"/>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57" name="Freeform 6">
              <a:extLst>
                <a:ext uri="{FF2B5EF4-FFF2-40B4-BE49-F238E27FC236}">
                  <a16:creationId xmlns:a16="http://schemas.microsoft.com/office/drawing/2014/main" id="{57A0D84F-9200-4AC6-A2B8-F8A44DC707A6}"/>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8" name="Freeform 7">
              <a:extLst>
                <a:ext uri="{FF2B5EF4-FFF2-40B4-BE49-F238E27FC236}">
                  <a16:creationId xmlns:a16="http://schemas.microsoft.com/office/drawing/2014/main" id="{AEEEED60-B5C4-4BB7-AE7B-B93F5E548B52}"/>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9" name="Freeform 8">
              <a:extLst>
                <a:ext uri="{FF2B5EF4-FFF2-40B4-BE49-F238E27FC236}">
                  <a16:creationId xmlns:a16="http://schemas.microsoft.com/office/drawing/2014/main" id="{B7BE1049-AAD1-4AA1-B68D-FFCC6CCB59D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0" name="Freeform 9">
              <a:extLst>
                <a:ext uri="{FF2B5EF4-FFF2-40B4-BE49-F238E27FC236}">
                  <a16:creationId xmlns:a16="http://schemas.microsoft.com/office/drawing/2014/main" id="{ABB86660-6993-40AB-B11C-F5D2BCE8CD5A}"/>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61" name="Freeform 10">
              <a:extLst>
                <a:ext uri="{FF2B5EF4-FFF2-40B4-BE49-F238E27FC236}">
                  <a16:creationId xmlns:a16="http://schemas.microsoft.com/office/drawing/2014/main" id="{A3AB8BF3-FCC7-4CFC-95F3-D21B97B07197}"/>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2" name="Freeform 11">
              <a:extLst>
                <a:ext uri="{FF2B5EF4-FFF2-40B4-BE49-F238E27FC236}">
                  <a16:creationId xmlns:a16="http://schemas.microsoft.com/office/drawing/2014/main" id="{3FF7A0FB-60A6-41A8-B91F-A0A6619838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65" name="AutoShape 4">
            <a:extLst>
              <a:ext uri="{FF2B5EF4-FFF2-40B4-BE49-F238E27FC236}">
                <a16:creationId xmlns:a16="http://schemas.microsoft.com/office/drawing/2014/main" id="{51B3BA47-4FE8-4AE6-9440-41D3D1DEB463}"/>
              </a:ext>
            </a:extLst>
          </p:cNvPr>
          <p:cNvSpPr>
            <a:spLocks noChangeAspect="1" noChangeArrowheads="1" noTextEdit="1"/>
          </p:cNvSpPr>
          <p:nvPr userDrawn="1"/>
        </p:nvSpPr>
        <p:spPr bwMode="auto">
          <a:xfrm>
            <a:off x="10008891" y="1882470"/>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8" name="Rechteck 7">
            <a:extLst>
              <a:ext uri="{FF2B5EF4-FFF2-40B4-BE49-F238E27FC236}">
                <a16:creationId xmlns:a16="http://schemas.microsoft.com/office/drawing/2014/main" id="{F8D6CB2C-8F7F-7154-BDE8-72F412D677B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9" name="Rechteck 8">
            <a:extLst>
              <a:ext uri="{FF2B5EF4-FFF2-40B4-BE49-F238E27FC236}">
                <a16:creationId xmlns:a16="http://schemas.microsoft.com/office/drawing/2014/main" id="{5669119A-BCAE-56C0-497E-E18202D63CE3}"/>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3464284391"/>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right with blue and white box">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77937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5283196" y="0"/>
            <a:ext cx="6915154" cy="6343650"/>
          </a:xfrm>
          <a:solidFill>
            <a:schemeClr val="bg2"/>
          </a:solidFill>
        </p:spPr>
        <p:txBody>
          <a:bodyPr rtlCol="0" anchor="ct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5283196" cy="3430800"/>
          </a:xfrm>
          <a:solidFill>
            <a:schemeClr val="accent5"/>
          </a:solidFill>
        </p:spPr>
        <p:txBody>
          <a:bodyPr rtlCol="0"/>
          <a:lstStyle>
            <a:lvl1pPr>
              <a:defRPr/>
            </a:lvl1pPr>
          </a:lstStyle>
          <a:p>
            <a:pPr lvl="0" rtl="0"/>
            <a:r>
              <a:rPr lang="ro"/>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5" y="520020"/>
            <a:ext cx="4387849" cy="1661993"/>
          </a:xfrm>
        </p:spPr>
        <p:txBody>
          <a:bodyPr wrap="square" rtlCol="0">
            <a:spAutoFit/>
          </a:bodyPr>
          <a:lstStyle>
            <a:lvl1pPr marL="0" indent="0" rtl="0">
              <a:spcBef>
                <a:spcPts val="0"/>
              </a:spcBef>
              <a:buNone/>
              <a:defRPr sz="3600" b="0">
                <a:solidFill>
                  <a:schemeClr val="bg1"/>
                </a:solidFill>
                <a:latin typeface="+mj-lt"/>
              </a:defRPr>
            </a:lvl1pPr>
          </a:lstStyle>
          <a:p>
            <a:pPr lvl="0" rtl="0"/>
            <a:r>
              <a:rPr lang="ro"/>
              <a:t>Picture with blue </a:t>
            </a:r>
            <a:br>
              <a:rPr lang="en-GB"/>
            </a:br>
            <a:r>
              <a:rPr lang="ro"/>
              <a:t>and white box left,</a:t>
            </a:r>
            <a:br>
              <a:rPr lang="en-GB"/>
            </a:br>
            <a:r>
              <a:rPr lang="ro"/>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ro"/>
              <a:t> </a:t>
            </a:r>
          </a:p>
        </p:txBody>
      </p:sp>
      <p:sp>
        <p:nvSpPr>
          <p:cNvPr id="5" name="Textplatzhalter 10">
            <a:extLst>
              <a:ext uri="{FF2B5EF4-FFF2-40B4-BE49-F238E27FC236}">
                <a16:creationId xmlns:a16="http://schemas.microsoft.com/office/drawing/2014/main" id="{FAD29D32-25C8-8F96-9444-97BF0683A115}"/>
              </a:ext>
            </a:extLst>
          </p:cNvPr>
          <p:cNvSpPr>
            <a:spLocks noGrp="1"/>
          </p:cNvSpPr>
          <p:nvPr>
            <p:ph type="body" sz="quarter" idx="25" hasCustomPrompt="1"/>
          </p:nvPr>
        </p:nvSpPr>
        <p:spPr>
          <a:xfrm>
            <a:off x="523875" y="3716338"/>
            <a:ext cx="4357590" cy="1092607"/>
          </a:xfrm>
        </p:spPr>
        <p:txBody>
          <a:bodyPr rtlCol="0">
            <a:sp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rtl="0"/>
            <a:r>
              <a:rPr lang="ro"/>
              <a:t>Content text, Arial Regular 14 pt</a:t>
            </a:r>
            <a:endParaRPr lang="de-DE"/>
          </a:p>
          <a:p>
            <a:pPr lvl="1" rtl="0"/>
            <a:r>
              <a:rPr lang="ro"/>
              <a:t>Content bullet</a:t>
            </a:r>
            <a:endParaRPr lang="de-DE"/>
          </a:p>
          <a:p>
            <a:pPr lvl="2" rtl="0"/>
            <a:r>
              <a:rPr lang="ro"/>
              <a:t>Content bullet</a:t>
            </a:r>
            <a:endParaRPr lang="de-DE"/>
          </a:p>
          <a:p>
            <a:pPr lvl="3" rtl="0"/>
            <a:r>
              <a:rPr lang="ro"/>
              <a:t>Content bullet</a:t>
            </a:r>
            <a:endParaRPr lang="en-GB"/>
          </a:p>
        </p:txBody>
      </p:sp>
    </p:spTree>
    <p:custDataLst>
      <p:tags r:id="rId2"/>
    </p:custDataLst>
    <p:extLst>
      <p:ext uri="{BB962C8B-B14F-4D97-AF65-F5344CB8AC3E}">
        <p14:creationId xmlns:p14="http://schemas.microsoft.com/office/powerpoint/2010/main" val="2080457640"/>
      </p:ext>
    </p:extLst>
  </p:cSld>
  <p:clrMapOvr>
    <a:masterClrMapping/>
  </p:clrMapOvr>
  <p:extLst>
    <p:ext uri="{DCECCB84-F9BA-43D5-87BE-67443E8EF086}">
      <p15:sldGuideLst xmlns:p15="http://schemas.microsoft.com/office/powerpoint/2012/main">
        <p15:guide id="2" pos="327">
          <p15:clr>
            <a:srgbClr val="FBAE40"/>
          </p15:clr>
        </p15:guide>
        <p15:guide id="3" pos="4772">
          <p15:clr>
            <a:srgbClr val="FBAE40"/>
          </p15:clr>
        </p15:guide>
        <p15:guide id="4" pos="309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and blue box lef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77937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5"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5283196" y="0"/>
            <a:ext cx="6915154" cy="6343650"/>
          </a:xfrm>
          <a:solidFill>
            <a:schemeClr val="bg2"/>
          </a:solidFill>
        </p:spPr>
        <p:txBody>
          <a:bodyPr rtlCol="0" anchor="ct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5283196" cy="6343650"/>
          </a:xfrm>
          <a:solidFill>
            <a:schemeClr val="accent5"/>
          </a:solidFill>
        </p:spPr>
        <p:txBody>
          <a:bodyPr rtlCol="0"/>
          <a:lstStyle>
            <a:lvl1pPr>
              <a:defRPr/>
            </a:lvl1pPr>
          </a:lstStyle>
          <a:p>
            <a:pPr lvl="0" rtl="0"/>
            <a:r>
              <a:rPr lang="ro"/>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6" y="1268413"/>
            <a:ext cx="4357590"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ro"/>
              <a:t>Picture and </a:t>
            </a:r>
            <a:br>
              <a:rPr lang="en-GB"/>
            </a:br>
            <a:r>
              <a:rPr lang="ro"/>
              <a:t>blue box left </a:t>
            </a:r>
            <a:br>
              <a:rPr lang="en-GB"/>
            </a:br>
            <a:r>
              <a:rPr lang="ro"/>
              <a:t>with key message,</a:t>
            </a:r>
            <a:br>
              <a:rPr lang="en-GB"/>
            </a:br>
            <a:r>
              <a:rPr lang="ro"/>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ro"/>
              <a:t> </a:t>
            </a:r>
          </a:p>
        </p:txBody>
      </p:sp>
      <p:sp>
        <p:nvSpPr>
          <p:cNvPr id="4" name="Textplatzhalter 10">
            <a:extLst>
              <a:ext uri="{FF2B5EF4-FFF2-40B4-BE49-F238E27FC236}">
                <a16:creationId xmlns:a16="http://schemas.microsoft.com/office/drawing/2014/main" id="{F3B7C52C-F2C5-38E1-7072-1BD2A2769898}"/>
              </a:ext>
            </a:extLst>
          </p:cNvPr>
          <p:cNvSpPr>
            <a:spLocks noGrp="1"/>
          </p:cNvSpPr>
          <p:nvPr>
            <p:ph type="body" sz="quarter" idx="25" hasCustomPrompt="1"/>
          </p:nvPr>
        </p:nvSpPr>
        <p:spPr>
          <a:xfrm>
            <a:off x="523876" y="3716338"/>
            <a:ext cx="4357590" cy="1092607"/>
          </a:xfrm>
        </p:spPr>
        <p:txBody>
          <a:bodyPr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ro"/>
              <a:t>Content text, Arial Regular 14 pt</a:t>
            </a:r>
            <a:endParaRPr lang="de-DE"/>
          </a:p>
          <a:p>
            <a:pPr lvl="1" rtl="0"/>
            <a:r>
              <a:rPr lang="ro"/>
              <a:t>Content bullet</a:t>
            </a:r>
            <a:endParaRPr lang="de-DE"/>
          </a:p>
          <a:p>
            <a:pPr lvl="2" rtl="0"/>
            <a:r>
              <a:rPr lang="ro"/>
              <a:t>Content bullet</a:t>
            </a:r>
            <a:endParaRPr lang="de-DE"/>
          </a:p>
          <a:p>
            <a:pPr lvl="3" rtl="0"/>
            <a:r>
              <a:rPr lang="ro"/>
              <a:t>Content bullet</a:t>
            </a:r>
            <a:endParaRPr lang="en-GB"/>
          </a:p>
        </p:txBody>
      </p:sp>
    </p:spTree>
    <p:custDataLst>
      <p:tags r:id="rId2"/>
    </p:custDataLst>
    <p:extLst>
      <p:ext uri="{BB962C8B-B14F-4D97-AF65-F5344CB8AC3E}">
        <p14:creationId xmlns:p14="http://schemas.microsoft.com/office/powerpoint/2010/main" val="807645482"/>
      </p:ext>
    </p:extLst>
  </p:cSld>
  <p:clrMapOvr>
    <a:masterClrMapping/>
  </p:clrMapOvr>
  <p:extLst>
    <p:ext uri="{DCECCB84-F9BA-43D5-87BE-67443E8EF086}">
      <p15:sldGuideLst xmlns:p15="http://schemas.microsoft.com/office/powerpoint/2012/main">
        <p15:guide id="2" pos="327">
          <p15:clr>
            <a:srgbClr val="FBAE40"/>
          </p15:clr>
        </p15:guide>
        <p15:guide id="3" pos="309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ue box left with key message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9150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extplatzhalter 14">
            <a:extLst>
              <a:ext uri="{FF2B5EF4-FFF2-40B4-BE49-F238E27FC236}">
                <a16:creationId xmlns:a16="http://schemas.microsoft.com/office/drawing/2014/main" id="{310CCF19-7E25-FEC2-D1E6-A51C461D6718}"/>
              </a:ext>
            </a:extLst>
          </p:cNvPr>
          <p:cNvSpPr>
            <a:spLocks noGrp="1"/>
          </p:cNvSpPr>
          <p:nvPr>
            <p:ph type="body" sz="quarter" idx="26" hasCustomPrompt="1"/>
          </p:nvPr>
        </p:nvSpPr>
        <p:spPr>
          <a:xfrm>
            <a:off x="0" y="0"/>
            <a:ext cx="5283196" cy="6343650"/>
          </a:xfrm>
          <a:solidFill>
            <a:schemeClr val="accent5"/>
          </a:solidFill>
        </p:spPr>
        <p:txBody>
          <a:bodyPr rtlCol="0"/>
          <a:lstStyle>
            <a:lvl1pPr>
              <a:defRPr/>
            </a:lvl1pPr>
          </a:lstStyle>
          <a:p>
            <a:pPr lvl="0" rtl="0"/>
            <a:r>
              <a:rPr lang="ro"/>
              <a:t> </a:t>
            </a:r>
          </a:p>
        </p:txBody>
      </p:sp>
      <p:sp>
        <p:nvSpPr>
          <p:cNvPr id="2" name="Rechteck 1">
            <a:extLst>
              <a:ext uri="{FF2B5EF4-FFF2-40B4-BE49-F238E27FC236}">
                <a16:creationId xmlns:a16="http://schemas.microsoft.com/office/drawing/2014/main" id="{83F48B45-5EBA-3316-49A1-282362F6ABA2}"/>
              </a:ext>
            </a:extLst>
          </p:cNvPr>
          <p:cNvSpPr/>
          <p:nvPr userDrawn="1"/>
        </p:nvSpPr>
        <p:spPr bwMode="ltGray">
          <a:xfrm>
            <a:off x="0" y="6430617"/>
            <a:ext cx="12198350" cy="1641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err="1">
              <a:solidFill>
                <a:schemeClr val="tx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rtlCol="0"/>
          <a:lstStyle>
            <a:lvl1pPr rtl="0">
              <a:defRPr>
                <a:solidFill>
                  <a:srgbClr val="5E5E5E"/>
                </a:solidFill>
              </a:defRPr>
            </a:lvl1pPr>
          </a:lstStyle>
          <a:p>
            <a:pPr rtl="0"/>
            <a:endParaRPr lang="en-GB"/>
          </a:p>
        </p:txBody>
      </p:sp>
      <p:sp>
        <p:nvSpPr>
          <p:cNvPr id="4" name="Fußzeilenplatzhalter 3"/>
          <p:cNvSpPr>
            <a:spLocks noGrp="1"/>
          </p:cNvSpPr>
          <p:nvPr>
            <p:ph type="ftr" sz="quarter" idx="11"/>
          </p:nvPr>
        </p:nvSpPr>
        <p:spPr/>
        <p:txBody>
          <a:bodyPr vert="horz" lIns="0" tIns="0" rIns="0" bIns="0" rtlCol="0" anchor="t">
            <a:noAutofit/>
          </a:bodyPr>
          <a:lstStyle>
            <a:lvl1pPr>
              <a:defRPr lang="en-GB" smtClean="0"/>
            </a:lvl1pPr>
          </a:lstStyle>
          <a:p>
            <a:pPr rtl="0"/>
            <a:endParaRPr lang="de-DE"/>
          </a:p>
        </p:txBody>
      </p:sp>
      <p:sp>
        <p:nvSpPr>
          <p:cNvPr id="5" name="Foliennummernplatzhalter 4"/>
          <p:cNvSpPr>
            <a:spLocks noGrp="1"/>
          </p:cNvSpPr>
          <p:nvPr>
            <p:ph type="sldNum" sz="quarter" idx="12"/>
          </p:nvPr>
        </p:nvSpPr>
        <p:spPr/>
        <p:txBody>
          <a:bodyPr rtlCol="0"/>
          <a:lstStyle>
            <a:lvl1pPr rtl="0">
              <a:defRPr>
                <a:solidFill>
                  <a:srgbClr val="5E5E5E"/>
                </a:solidFill>
              </a:defRPr>
            </a:lvl1pPr>
          </a:lstStyle>
          <a:p>
            <a:pPr rtl="0"/>
            <a:r>
              <a:rPr lang="ro"/>
              <a:t>- </a:t>
            </a:r>
            <a:fld id="{94A6D44E-0BF8-4A10-A708-3AB32E33FA71}" type="slidenum">
              <a:rPr lang="en-GB" smtClean="0"/>
              <a:pPr rtl="0"/>
              <a:t>‹nr.›</a:t>
            </a:fld>
            <a:r>
              <a:rPr lang="ro"/>
              <a:t> -</a:t>
            </a:r>
          </a:p>
        </p:txBody>
      </p:sp>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grpSp>
        <p:nvGrpSpPr>
          <p:cNvPr id="16" name="Gruppieren 15">
            <a:extLst>
              <a:ext uri="{FF2B5EF4-FFF2-40B4-BE49-F238E27FC236}">
                <a16:creationId xmlns:a16="http://schemas.microsoft.com/office/drawing/2014/main" id="{81824780-E074-48FD-84AE-FBB70892ED11}"/>
              </a:ext>
            </a:extLst>
          </p:cNvPr>
          <p:cNvGrpSpPr/>
          <p:nvPr userDrawn="1"/>
        </p:nvGrpSpPr>
        <p:grpSpPr>
          <a:xfrm>
            <a:off x="10714588" y="263197"/>
            <a:ext cx="1218552" cy="375634"/>
            <a:chOff x="7241394" y="191294"/>
            <a:chExt cx="1717661" cy="529490"/>
          </a:xfrm>
        </p:grpSpPr>
        <p:sp>
          <p:nvSpPr>
            <p:cNvPr id="17" name="Rectangle 1069">
              <a:extLst>
                <a:ext uri="{FF2B5EF4-FFF2-40B4-BE49-F238E27FC236}">
                  <a16:creationId xmlns:a16="http://schemas.microsoft.com/office/drawing/2014/main" id="{DAD2F976-6390-43A3-992D-0C4E977B342E}"/>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18" name="AutoShape 4">
              <a:extLst>
                <a:ext uri="{FF2B5EF4-FFF2-40B4-BE49-F238E27FC236}">
                  <a16:creationId xmlns:a16="http://schemas.microsoft.com/office/drawing/2014/main" id="{4D508606-2E7E-4D5A-B74A-257ED0180243}"/>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9" name="Freeform 6">
              <a:extLst>
                <a:ext uri="{FF2B5EF4-FFF2-40B4-BE49-F238E27FC236}">
                  <a16:creationId xmlns:a16="http://schemas.microsoft.com/office/drawing/2014/main" id="{C20B8681-153E-4109-9AAF-BBFB86F40395}"/>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20" name="Freeform 7">
              <a:extLst>
                <a:ext uri="{FF2B5EF4-FFF2-40B4-BE49-F238E27FC236}">
                  <a16:creationId xmlns:a16="http://schemas.microsoft.com/office/drawing/2014/main" id="{37CE3F55-12AF-46EA-967E-38DFA9B4940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2" name="Freeform 8">
              <a:extLst>
                <a:ext uri="{FF2B5EF4-FFF2-40B4-BE49-F238E27FC236}">
                  <a16:creationId xmlns:a16="http://schemas.microsoft.com/office/drawing/2014/main" id="{0EB7D44F-154D-4F0E-B256-48D841FACB54}"/>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3" name="Freeform 9">
              <a:extLst>
                <a:ext uri="{FF2B5EF4-FFF2-40B4-BE49-F238E27FC236}">
                  <a16:creationId xmlns:a16="http://schemas.microsoft.com/office/drawing/2014/main" id="{2348742C-09F9-41E3-9A3D-324DC2AC6E8D}"/>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4" name="Freeform 10">
              <a:extLst>
                <a:ext uri="{FF2B5EF4-FFF2-40B4-BE49-F238E27FC236}">
                  <a16:creationId xmlns:a16="http://schemas.microsoft.com/office/drawing/2014/main" id="{F8A725D7-8088-49EF-8D2D-A5101CB473F1}"/>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5" name="Freeform 11">
              <a:extLst>
                <a:ext uri="{FF2B5EF4-FFF2-40B4-BE49-F238E27FC236}">
                  <a16:creationId xmlns:a16="http://schemas.microsoft.com/office/drawing/2014/main" id="{503F6A22-3145-4AF1-A999-BB44E812B60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46" name="Textplatzhalter 7">
            <a:extLst>
              <a:ext uri="{FF2B5EF4-FFF2-40B4-BE49-F238E27FC236}">
                <a16:creationId xmlns:a16="http://schemas.microsoft.com/office/drawing/2014/main" id="{F3DC000E-7D93-497E-B634-C51CB6A7053A}"/>
              </a:ext>
            </a:extLst>
          </p:cNvPr>
          <p:cNvSpPr>
            <a:spLocks noGrp="1"/>
          </p:cNvSpPr>
          <p:nvPr>
            <p:ph type="body" sz="quarter" idx="19" hasCustomPrompt="1"/>
          </p:nvPr>
        </p:nvSpPr>
        <p:spPr>
          <a:xfrm>
            <a:off x="523876" y="1268413"/>
            <a:ext cx="4488317" cy="1661993"/>
          </a:xfrm>
        </p:spPr>
        <p:txBody>
          <a:bodyPr wrap="square" rtlCol="0">
            <a:spAutoFit/>
          </a:bodyPr>
          <a:lstStyle>
            <a:lvl1pPr marL="0" indent="0" rtl="0">
              <a:spcBef>
                <a:spcPts val="0"/>
              </a:spcBef>
              <a:buNone/>
              <a:defRPr sz="3600" b="0">
                <a:solidFill>
                  <a:schemeClr val="bg1"/>
                </a:solidFill>
                <a:latin typeface="+mj-lt"/>
              </a:defRPr>
            </a:lvl1pPr>
          </a:lstStyle>
          <a:p>
            <a:pPr lvl="0" rtl="0"/>
            <a:r>
              <a:rPr lang="ro"/>
              <a:t>Blue box left </a:t>
            </a:r>
            <a:br>
              <a:rPr lang="en-GB"/>
            </a:br>
            <a:r>
              <a:rPr lang="ro"/>
              <a:t>with key message </a:t>
            </a:r>
            <a:br>
              <a:rPr lang="en-GB"/>
            </a:br>
            <a:r>
              <a:rPr lang="ro"/>
              <a:t>Arial Narrow 36 pt</a:t>
            </a:r>
            <a:endParaRPr lang="en-GB"/>
          </a:p>
        </p:txBody>
      </p:sp>
      <p:sp>
        <p:nvSpPr>
          <p:cNvPr id="7" name="Inhaltsplatzhalter 6">
            <a:extLst>
              <a:ext uri="{FF2B5EF4-FFF2-40B4-BE49-F238E27FC236}">
                <a16:creationId xmlns:a16="http://schemas.microsoft.com/office/drawing/2014/main" id="{6864A25C-1096-4FCF-80CF-8A40CF703024}"/>
              </a:ext>
            </a:extLst>
          </p:cNvPr>
          <p:cNvSpPr>
            <a:spLocks noGrp="1"/>
          </p:cNvSpPr>
          <p:nvPr>
            <p:ph sz="quarter" idx="21" hasCustomPrompt="1"/>
          </p:nvPr>
        </p:nvSpPr>
        <p:spPr>
          <a:xfrm>
            <a:off x="5522913" y="1270000"/>
            <a:ext cx="6410325" cy="5075238"/>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ro" noProof="0"/>
              <a:t>Content text, Arial Regular 14 pt</a:t>
            </a:r>
            <a:endParaRPr lang="en-GB" noProof="0"/>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endParaRPr lang="en-GB"/>
          </a:p>
        </p:txBody>
      </p:sp>
      <p:sp>
        <p:nvSpPr>
          <p:cNvPr id="8" name="Rechteck 7">
            <a:extLst>
              <a:ext uri="{FF2B5EF4-FFF2-40B4-BE49-F238E27FC236}">
                <a16:creationId xmlns:a16="http://schemas.microsoft.com/office/drawing/2014/main" id="{00EA18A9-8539-90F4-F18A-B4B377A72874}"/>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9" name="Rechteck 8">
            <a:extLst>
              <a:ext uri="{FF2B5EF4-FFF2-40B4-BE49-F238E27FC236}">
                <a16:creationId xmlns:a16="http://schemas.microsoft.com/office/drawing/2014/main" id="{454EB82E-A812-7CB2-39BE-B1E1C6FA833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Textplatzhalter 10">
            <a:extLst>
              <a:ext uri="{FF2B5EF4-FFF2-40B4-BE49-F238E27FC236}">
                <a16:creationId xmlns:a16="http://schemas.microsoft.com/office/drawing/2014/main" id="{884EFA23-2A00-96C7-81FA-A904AA2FC793}"/>
              </a:ext>
            </a:extLst>
          </p:cNvPr>
          <p:cNvSpPr>
            <a:spLocks noGrp="1"/>
          </p:cNvSpPr>
          <p:nvPr>
            <p:ph type="body" sz="quarter" idx="25" hasCustomPrompt="1"/>
          </p:nvPr>
        </p:nvSpPr>
        <p:spPr>
          <a:xfrm>
            <a:off x="523876" y="3716338"/>
            <a:ext cx="4357590" cy="1092607"/>
          </a:xfrm>
        </p:spPr>
        <p:txBody>
          <a:bodyPr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ro"/>
              <a:t>Content text, Arial Regular 14 pt</a:t>
            </a:r>
            <a:endParaRPr lang="de-DE"/>
          </a:p>
          <a:p>
            <a:pPr lvl="1" rtl="0"/>
            <a:r>
              <a:rPr lang="ro"/>
              <a:t>Content bullet</a:t>
            </a:r>
            <a:endParaRPr lang="de-DE"/>
          </a:p>
          <a:p>
            <a:pPr lvl="2" rtl="0"/>
            <a:r>
              <a:rPr lang="ro"/>
              <a:t>Content bullet</a:t>
            </a:r>
            <a:endParaRPr lang="de-DE"/>
          </a:p>
          <a:p>
            <a:pPr lvl="3" rtl="0"/>
            <a:r>
              <a:rPr lang="ro"/>
              <a:t>Content bullet</a:t>
            </a:r>
            <a:endParaRPr lang="en-GB"/>
          </a:p>
        </p:txBody>
      </p:sp>
    </p:spTree>
    <p:custDataLst>
      <p:tags r:id="rId2"/>
    </p:custDataLst>
    <p:extLst>
      <p:ext uri="{BB962C8B-B14F-4D97-AF65-F5344CB8AC3E}">
        <p14:creationId xmlns:p14="http://schemas.microsoft.com/office/powerpoint/2010/main" val="3037815475"/>
      </p:ext>
    </p:extLst>
  </p:cSld>
  <p:clrMapOvr>
    <a:masterClrMapping/>
  </p:clrMapOvr>
  <p:extLst>
    <p:ext uri="{DCECCB84-F9BA-43D5-87BE-67443E8EF086}">
      <p15:sldGuideLst xmlns:p15="http://schemas.microsoft.com/office/powerpoint/2012/main">
        <p15:guide id="1" pos="3162">
          <p15:clr>
            <a:srgbClr val="FBAE40"/>
          </p15:clr>
        </p15:guide>
        <p15:guide id="2" pos="3479">
          <p15:clr>
            <a:srgbClr val="FBAE40"/>
          </p15:clr>
        </p15:guide>
        <p15:guide id="3" pos="3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and blue box righ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3082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Medienplatzhalter 3">
            <a:extLst>
              <a:ext uri="{FF2B5EF4-FFF2-40B4-BE49-F238E27FC236}">
                <a16:creationId xmlns:a16="http://schemas.microsoft.com/office/drawing/2014/main" id="{AD367AD0-ED13-663C-8002-507EF8641B58}"/>
              </a:ext>
            </a:extLst>
          </p:cNvPr>
          <p:cNvSpPr>
            <a:spLocks noGrp="1"/>
          </p:cNvSpPr>
          <p:nvPr>
            <p:ph type="media" sz="quarter" idx="21" hasCustomPrompt="1"/>
          </p:nvPr>
        </p:nvSpPr>
        <p:spPr>
          <a:xfrm>
            <a:off x="0" y="448"/>
            <a:ext cx="8201025" cy="6343200"/>
          </a:xfrm>
          <a:prstGeom prst="rect">
            <a:avLst/>
          </a:prstGeom>
          <a:solidFill>
            <a:schemeClr val="bg2"/>
          </a:solidFill>
        </p:spPr>
        <p:txBody>
          <a:bodyPr rtlCol="0" anchor="ctr"/>
          <a:lstStyle>
            <a:lvl1pPr marL="0" indent="0" algn="ctr">
              <a:spcBef>
                <a:spcPts val="0"/>
              </a:spcBef>
              <a:buNone/>
              <a:defRPr b="0"/>
            </a:lvl1pPr>
          </a:lstStyle>
          <a:p>
            <a:pPr rtl="0"/>
            <a:r>
              <a:rPr lang="ro" noProof="0"/>
              <a:t>Please insert a video</a:t>
            </a:r>
          </a:p>
          <a:p>
            <a:pPr rtl="0"/>
            <a:endParaRPr lang="en-GB" noProof="0"/>
          </a:p>
          <a:p>
            <a:pPr rtl="0"/>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8200800" y="-2"/>
            <a:ext cx="3997550" cy="6343650"/>
          </a:xfrm>
          <a:prstGeom prst="rect">
            <a:avLst/>
          </a:prstGeom>
          <a:solidFill>
            <a:schemeClr val="accent5"/>
          </a:solidFill>
        </p:spPr>
        <p:txBody>
          <a:bodyPr rtlCol="0"/>
          <a:lstStyle>
            <a:lvl1pPr>
              <a:defRPr/>
            </a:lvl1pPr>
          </a:lstStyle>
          <a:p>
            <a:pPr lvl="0" rtl="0"/>
            <a:r>
              <a:rPr lang="ro"/>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8583612"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ro"/>
              <a:t>Picture and </a:t>
            </a:r>
            <a:br>
              <a:rPr lang="en-GB"/>
            </a:br>
            <a:r>
              <a:rPr lang="ro"/>
              <a:t>blue box right </a:t>
            </a:r>
            <a:br>
              <a:rPr lang="en-GB"/>
            </a:br>
            <a:r>
              <a:rPr lang="ro"/>
              <a:t>with key message,</a:t>
            </a:r>
            <a:br>
              <a:rPr lang="en-GB"/>
            </a:br>
            <a:r>
              <a:rPr lang="ro"/>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ro"/>
              <a:t> </a:t>
            </a:r>
          </a:p>
        </p:txBody>
      </p:sp>
      <p:sp>
        <p:nvSpPr>
          <p:cNvPr id="5" name="Textplatzhalter 10">
            <a:extLst>
              <a:ext uri="{FF2B5EF4-FFF2-40B4-BE49-F238E27FC236}">
                <a16:creationId xmlns:a16="http://schemas.microsoft.com/office/drawing/2014/main" id="{7D806616-1399-0E38-148C-529768A41A09}"/>
              </a:ext>
            </a:extLst>
          </p:cNvPr>
          <p:cNvSpPr>
            <a:spLocks noGrp="1"/>
          </p:cNvSpPr>
          <p:nvPr>
            <p:ph type="body" sz="quarter" idx="25" hasCustomPrompt="1"/>
          </p:nvPr>
        </p:nvSpPr>
        <p:spPr>
          <a:xfrm>
            <a:off x="8583611" y="4300012"/>
            <a:ext cx="3349528" cy="1092607"/>
          </a:xfrm>
        </p:spPr>
        <p:txBody>
          <a:bodyPr wrap="square"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ro"/>
              <a:t>Content text, Arial Regular 14 pt</a:t>
            </a:r>
            <a:endParaRPr lang="de-DE"/>
          </a:p>
          <a:p>
            <a:pPr lvl="1" rtl="0"/>
            <a:r>
              <a:rPr lang="ro"/>
              <a:t>Content bullet</a:t>
            </a:r>
            <a:endParaRPr lang="de-DE"/>
          </a:p>
          <a:p>
            <a:pPr lvl="2" rtl="0"/>
            <a:r>
              <a:rPr lang="ro"/>
              <a:t>Content bullet</a:t>
            </a:r>
            <a:endParaRPr lang="de-DE"/>
          </a:p>
          <a:p>
            <a:pPr lvl="3" rtl="0"/>
            <a:r>
              <a:rPr lang="ro"/>
              <a:t>Content bullet</a:t>
            </a:r>
            <a:endParaRPr lang="en-GB"/>
          </a:p>
        </p:txBody>
      </p:sp>
    </p:spTree>
    <p:custDataLst>
      <p:tags r:id="rId2"/>
    </p:custDataLst>
    <p:extLst>
      <p:ext uri="{BB962C8B-B14F-4D97-AF65-F5344CB8AC3E}">
        <p14:creationId xmlns:p14="http://schemas.microsoft.com/office/powerpoint/2010/main" val="1627048505"/>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Picture and blue box righ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93002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7"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8200800" y="0"/>
            <a:ext cx="3997550" cy="6343650"/>
          </a:xfrm>
          <a:solidFill>
            <a:schemeClr val="accent5"/>
          </a:solidFill>
        </p:spPr>
        <p:txBody>
          <a:bodyPr rtlCol="0"/>
          <a:lstStyle>
            <a:lvl1pPr>
              <a:defRPr/>
            </a:lvl1pPr>
          </a:lstStyle>
          <a:p>
            <a:pPr lvl="0" rtl="0"/>
            <a:r>
              <a:rPr lang="ro"/>
              <a:t> </a:t>
            </a:r>
          </a:p>
        </p:txBody>
      </p:sp>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0" y="0"/>
            <a:ext cx="8200797" cy="6343650"/>
          </a:xfrm>
          <a:solidFill>
            <a:schemeClr val="bg2"/>
          </a:solidFill>
        </p:spPr>
        <p:txBody>
          <a:bodyPr rtlCol="0" anchor="ctr"/>
          <a:lstStyle>
            <a:lvl1pPr marL="0" indent="0" algn="ctr" rtl="0">
              <a:spcBef>
                <a:spcPts val="0"/>
              </a:spcBef>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8583612"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ro"/>
              <a:t>Picture and </a:t>
            </a:r>
            <a:br>
              <a:rPr lang="en-GB"/>
            </a:br>
            <a:r>
              <a:rPr lang="ro"/>
              <a:t>blue box right </a:t>
            </a:r>
            <a:br>
              <a:rPr lang="en-GB"/>
            </a:br>
            <a:r>
              <a:rPr lang="ro"/>
              <a:t>with key message,</a:t>
            </a:r>
            <a:br>
              <a:rPr lang="en-GB"/>
            </a:br>
            <a:r>
              <a:rPr lang="ro"/>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ro"/>
              <a:t> </a:t>
            </a:r>
          </a:p>
        </p:txBody>
      </p:sp>
      <p:sp>
        <p:nvSpPr>
          <p:cNvPr id="4" name="Textplatzhalter 10">
            <a:extLst>
              <a:ext uri="{FF2B5EF4-FFF2-40B4-BE49-F238E27FC236}">
                <a16:creationId xmlns:a16="http://schemas.microsoft.com/office/drawing/2014/main" id="{054D841B-1234-79EF-4222-5D4F102DC3DB}"/>
              </a:ext>
            </a:extLst>
          </p:cNvPr>
          <p:cNvSpPr>
            <a:spLocks noGrp="1"/>
          </p:cNvSpPr>
          <p:nvPr>
            <p:ph type="body" sz="quarter" idx="25" hasCustomPrompt="1"/>
          </p:nvPr>
        </p:nvSpPr>
        <p:spPr>
          <a:xfrm>
            <a:off x="8583611" y="4300012"/>
            <a:ext cx="3349528" cy="1092607"/>
          </a:xfrm>
        </p:spPr>
        <p:txBody>
          <a:bodyPr wrap="square"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ro"/>
              <a:t>Content text, Arial Regular 14 pt</a:t>
            </a:r>
            <a:endParaRPr lang="de-DE"/>
          </a:p>
          <a:p>
            <a:pPr lvl="1" rtl="0"/>
            <a:r>
              <a:rPr lang="ro"/>
              <a:t>Content bullet</a:t>
            </a:r>
            <a:endParaRPr lang="de-DE"/>
          </a:p>
          <a:p>
            <a:pPr lvl="2" rtl="0"/>
            <a:r>
              <a:rPr lang="ro"/>
              <a:t>Content bullet</a:t>
            </a:r>
            <a:endParaRPr lang="de-DE"/>
          </a:p>
          <a:p>
            <a:pPr lvl="3" rtl="0"/>
            <a:r>
              <a:rPr lang="ro"/>
              <a:t>Content bullet</a:t>
            </a:r>
            <a:endParaRPr lang="en-GB"/>
          </a:p>
        </p:txBody>
      </p:sp>
    </p:spTree>
    <p:custDataLst>
      <p:tags r:id="rId2"/>
    </p:custDataLst>
    <p:extLst>
      <p:ext uri="{BB962C8B-B14F-4D97-AF65-F5344CB8AC3E}">
        <p14:creationId xmlns:p14="http://schemas.microsoft.com/office/powerpoint/2010/main" val="3121122933"/>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and blue box lef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3082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Medienplatzhalter 3">
            <a:extLst>
              <a:ext uri="{FF2B5EF4-FFF2-40B4-BE49-F238E27FC236}">
                <a16:creationId xmlns:a16="http://schemas.microsoft.com/office/drawing/2014/main" id="{AD367AD0-ED13-663C-8002-507EF8641B58}"/>
              </a:ext>
            </a:extLst>
          </p:cNvPr>
          <p:cNvSpPr>
            <a:spLocks noGrp="1"/>
          </p:cNvSpPr>
          <p:nvPr>
            <p:ph type="media" sz="quarter" idx="21" hasCustomPrompt="1"/>
          </p:nvPr>
        </p:nvSpPr>
        <p:spPr>
          <a:xfrm>
            <a:off x="3997325" y="0"/>
            <a:ext cx="8201025" cy="6343200"/>
          </a:xfrm>
          <a:solidFill>
            <a:schemeClr val="bg2"/>
          </a:solidFill>
        </p:spPr>
        <p:txBody>
          <a:bodyPr rtlCol="0" anchor="ctr"/>
          <a:lstStyle>
            <a:lvl1pPr marL="0" indent="0" algn="ctr">
              <a:spcBef>
                <a:spcPts val="0"/>
              </a:spcBef>
              <a:buNone/>
              <a:defRPr b="0"/>
            </a:lvl1pPr>
          </a:lstStyle>
          <a:p>
            <a:pPr rtl="0"/>
            <a:r>
              <a:rPr lang="ro" noProof="0"/>
              <a:t>Please insert a video</a:t>
            </a:r>
          </a:p>
          <a:p>
            <a:pPr rtl="0"/>
            <a:endParaRPr lang="en-GB" noProof="0"/>
          </a:p>
          <a:p>
            <a:pPr rtl="0"/>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3997550" cy="6343650"/>
          </a:xfrm>
          <a:solidFill>
            <a:schemeClr val="accent5"/>
          </a:solidFill>
        </p:spPr>
        <p:txBody>
          <a:bodyPr rtlCol="0"/>
          <a:lstStyle>
            <a:lvl1pPr>
              <a:defRPr/>
            </a:lvl1pPr>
          </a:lstStyle>
          <a:p>
            <a:pPr lvl="0" rtl="0"/>
            <a:r>
              <a:rPr lang="ro"/>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6"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ro"/>
              <a:t>Picture and </a:t>
            </a:r>
            <a:br>
              <a:rPr lang="en-GB"/>
            </a:br>
            <a:r>
              <a:rPr lang="ro"/>
              <a:t>blue box left </a:t>
            </a:r>
            <a:br>
              <a:rPr lang="en-GB"/>
            </a:br>
            <a:r>
              <a:rPr lang="ro"/>
              <a:t>with key message,</a:t>
            </a:r>
            <a:br>
              <a:rPr lang="en-GB"/>
            </a:br>
            <a:r>
              <a:rPr lang="ro"/>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ro"/>
              <a:t> </a:t>
            </a:r>
          </a:p>
        </p:txBody>
      </p:sp>
      <p:sp>
        <p:nvSpPr>
          <p:cNvPr id="5" name="Textplatzhalter 10">
            <a:extLst>
              <a:ext uri="{FF2B5EF4-FFF2-40B4-BE49-F238E27FC236}">
                <a16:creationId xmlns:a16="http://schemas.microsoft.com/office/drawing/2014/main" id="{E86E1A8C-1EFE-47A7-A2F6-E5C655A06287}"/>
              </a:ext>
            </a:extLst>
          </p:cNvPr>
          <p:cNvSpPr>
            <a:spLocks noGrp="1"/>
          </p:cNvSpPr>
          <p:nvPr>
            <p:ph type="body" sz="quarter" idx="25" hasCustomPrompt="1"/>
          </p:nvPr>
        </p:nvSpPr>
        <p:spPr>
          <a:xfrm>
            <a:off x="523876" y="4300012"/>
            <a:ext cx="3349528" cy="1092607"/>
          </a:xfrm>
        </p:spPr>
        <p:txBody>
          <a:bodyPr wrap="square"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ro"/>
              <a:t>Content text, Arial Regular 14 pt</a:t>
            </a:r>
            <a:endParaRPr lang="de-DE"/>
          </a:p>
          <a:p>
            <a:pPr lvl="1" rtl="0"/>
            <a:r>
              <a:rPr lang="ro"/>
              <a:t>Content bullet</a:t>
            </a:r>
            <a:endParaRPr lang="de-DE"/>
          </a:p>
          <a:p>
            <a:pPr lvl="2" rtl="0"/>
            <a:r>
              <a:rPr lang="ro"/>
              <a:t>Content bullet</a:t>
            </a:r>
            <a:endParaRPr lang="de-DE"/>
          </a:p>
          <a:p>
            <a:pPr lvl="3" rtl="0"/>
            <a:r>
              <a:rPr lang="ro"/>
              <a:t>Content bullet</a:t>
            </a:r>
            <a:endParaRPr lang="en-GB"/>
          </a:p>
        </p:txBody>
      </p:sp>
    </p:spTree>
    <p:custDataLst>
      <p:tags r:id="rId2"/>
    </p:custDataLst>
    <p:extLst>
      <p:ext uri="{BB962C8B-B14F-4D97-AF65-F5344CB8AC3E}">
        <p14:creationId xmlns:p14="http://schemas.microsoft.com/office/powerpoint/2010/main" val="2254556364"/>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g Picture and blue box lef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147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5"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3997553" y="0"/>
            <a:ext cx="8200797" cy="6343650"/>
          </a:xfrm>
          <a:solidFill>
            <a:schemeClr val="bg2"/>
          </a:solidFill>
        </p:spPr>
        <p:txBody>
          <a:bodyPr rtlCol="0" anchor="ctr"/>
          <a:lstStyle>
            <a:lvl1pPr marL="0" indent="0" algn="ctr" rtl="0">
              <a:spcBef>
                <a:spcPts val="0"/>
              </a:spcBef>
              <a:buNone/>
              <a:defRPr b="0"/>
            </a:lvl1pPr>
          </a:lstStyle>
          <a:p>
            <a:pPr rtl="0"/>
            <a:r>
              <a:rPr lang="ro" noProof="0"/>
              <a:t>Please insert an image</a:t>
            </a:r>
            <a:br>
              <a:rPr lang="en-US" noProof="0"/>
            </a:br>
            <a:br>
              <a:rPr lang="en-US" noProof="0"/>
            </a:br>
            <a:br>
              <a:rPr lang="en-US" noProof="0"/>
            </a:br>
            <a:br>
              <a:rPr lang="en-US" noProof="0"/>
            </a:br>
            <a:endParaRPr lang="en-US"/>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3997550" cy="6343650"/>
          </a:xfrm>
          <a:solidFill>
            <a:schemeClr val="accent5"/>
          </a:solidFill>
        </p:spPr>
        <p:txBody>
          <a:bodyPr rtlCol="0"/>
          <a:lstStyle>
            <a:lvl1pPr rtl="0">
              <a:defRPr/>
            </a:lvl1pPr>
          </a:lstStyle>
          <a:p>
            <a:pPr lvl="0" rtl="0"/>
            <a:r>
              <a:rPr lang="ro"/>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6"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ro"/>
              <a:t>Picture and</a:t>
            </a:r>
            <a:br>
              <a:rPr lang="en-US"/>
            </a:br>
            <a:r>
              <a:rPr lang="ro"/>
              <a:t>blue box left </a:t>
            </a:r>
            <a:br>
              <a:rPr lang="en-US"/>
            </a:br>
            <a:r>
              <a:rPr lang="ro"/>
              <a:t>with key message,</a:t>
            </a:r>
            <a:br>
              <a:rPr lang="en-US"/>
            </a:br>
            <a:r>
              <a:rPr lang="ro"/>
              <a:t>Arial Narrow 36 pt</a:t>
            </a:r>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lvl1pPr rtl="0">
              <a:defRPr/>
            </a:lvl1pPr>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lvl1pPr rtl="0">
              <a:defRPr/>
            </a:lvl1pPr>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lvl1pPr rtl="0">
              <a:defRPr/>
            </a:lvl1pPr>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rtl="0">
              <a:buNone/>
              <a:defRPr/>
            </a:lvl1pPr>
          </a:lstStyle>
          <a:p>
            <a:pPr lvl="0" rtl="0"/>
            <a:r>
              <a:rPr lang="ro"/>
              <a:t> </a:t>
            </a:r>
          </a:p>
        </p:txBody>
      </p:sp>
      <p:sp>
        <p:nvSpPr>
          <p:cNvPr id="4" name="Textplatzhalter 10">
            <a:extLst>
              <a:ext uri="{FF2B5EF4-FFF2-40B4-BE49-F238E27FC236}">
                <a16:creationId xmlns:a16="http://schemas.microsoft.com/office/drawing/2014/main" id="{92E56629-8484-1808-2C07-BBC425EE4181}"/>
              </a:ext>
            </a:extLst>
          </p:cNvPr>
          <p:cNvSpPr>
            <a:spLocks noGrp="1"/>
          </p:cNvSpPr>
          <p:nvPr>
            <p:ph type="body" sz="quarter" idx="25" hasCustomPrompt="1"/>
          </p:nvPr>
        </p:nvSpPr>
        <p:spPr>
          <a:xfrm>
            <a:off x="523876" y="4300012"/>
            <a:ext cx="3349528" cy="1092607"/>
          </a:xfrm>
        </p:spPr>
        <p:txBody>
          <a:bodyPr wrap="square" rtlCol="0">
            <a:spAutoFit/>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stStyle>
          <a:p>
            <a:pPr lvl="0" rtl="0"/>
            <a:r>
              <a:rPr lang="ro"/>
              <a:t>Content text, Arial Regular 14 pt</a:t>
            </a:r>
          </a:p>
          <a:p>
            <a:pPr lvl="1" rtl="0"/>
            <a:r>
              <a:rPr lang="ro"/>
              <a:t>Content bullet</a:t>
            </a:r>
          </a:p>
          <a:p>
            <a:pPr lvl="2" rtl="0"/>
            <a:r>
              <a:rPr lang="ro"/>
              <a:t>Content bullet</a:t>
            </a:r>
          </a:p>
          <a:p>
            <a:pPr lvl="3" rtl="0"/>
            <a:r>
              <a:rPr lang="ro"/>
              <a:t>Content bullet</a:t>
            </a:r>
          </a:p>
        </p:txBody>
      </p:sp>
    </p:spTree>
    <p:custDataLst>
      <p:tags r:id="rId2"/>
    </p:custDataLst>
    <p:extLst>
      <p:ext uri="{BB962C8B-B14F-4D97-AF65-F5344CB8AC3E}">
        <p14:creationId xmlns:p14="http://schemas.microsoft.com/office/powerpoint/2010/main" val="1784579747"/>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right with white backgrou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61347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flipH="1">
            <a:off x="5283196" y="0"/>
            <a:ext cx="6915154" cy="6343650"/>
          </a:xfrm>
          <a:solidFill>
            <a:schemeClr val="bg2"/>
          </a:solidFill>
        </p:spPr>
        <p:txBody>
          <a:bodyPr rtlCol="0" anchor="ct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5" y="1268413"/>
            <a:ext cx="4392610" cy="1661993"/>
          </a:xfrm>
        </p:spPr>
        <p:txBody>
          <a:bodyPr wrap="square" rtlCol="0">
            <a:spAutoFit/>
          </a:bodyPr>
          <a:lstStyle>
            <a:lvl1pPr marL="0" indent="0" rtl="0">
              <a:spcBef>
                <a:spcPts val="0"/>
              </a:spcBef>
              <a:buNone/>
              <a:defRPr sz="3600" b="0">
                <a:solidFill>
                  <a:schemeClr val="tx1"/>
                </a:solidFill>
                <a:latin typeface="+mj-lt"/>
              </a:defRPr>
            </a:lvl1pPr>
          </a:lstStyle>
          <a:p>
            <a:pPr lvl="0" rtl="0"/>
            <a:r>
              <a:rPr lang="ro"/>
              <a:t>Picture right with </a:t>
            </a:r>
            <a:br>
              <a:rPr lang="en-GB"/>
            </a:br>
            <a:r>
              <a:rPr lang="ro"/>
              <a:t>white background,</a:t>
            </a:r>
            <a:br>
              <a:rPr lang="en-GB"/>
            </a:br>
            <a:r>
              <a:rPr lang="ro"/>
              <a:t>Arial Narrow 36 pt</a:t>
            </a:r>
            <a:endParaRPr lang="en-GB"/>
          </a:p>
        </p:txBody>
      </p:sp>
      <p:sp>
        <p:nvSpPr>
          <p:cNvPr id="6" name="Textplatzhalter 5">
            <a:extLst>
              <a:ext uri="{FF2B5EF4-FFF2-40B4-BE49-F238E27FC236}">
                <a16:creationId xmlns:a16="http://schemas.microsoft.com/office/drawing/2014/main" id="{F0EC9ECA-ABE1-1FDE-2D36-33FD46FAE6EE}"/>
              </a:ext>
            </a:extLst>
          </p:cNvPr>
          <p:cNvSpPr>
            <a:spLocks noGrp="1"/>
          </p:cNvSpPr>
          <p:nvPr>
            <p:ph type="body" sz="quarter" idx="15" hasCustomPrompt="1"/>
          </p:nvPr>
        </p:nvSpPr>
        <p:spPr>
          <a:xfrm>
            <a:off x="519114" y="3158153"/>
            <a:ext cx="4392609" cy="1384995"/>
          </a:xfrm>
        </p:spPr>
        <p:txBody>
          <a:bodyPr wrap="square" rtlCol="0">
            <a:spAutoFit/>
          </a:bodyPr>
          <a:lstStyle>
            <a:lvl1pPr>
              <a:buClr>
                <a:schemeClr val="accent5"/>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rtl="0"/>
            <a:r>
              <a:rPr lang="ro" noProof="0"/>
              <a:t>Content text, Arial Regular 14 pt</a:t>
            </a:r>
            <a:endParaRPr lang="en-GB" noProof="0"/>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ro"/>
              <a:t> </a:t>
            </a:r>
          </a:p>
        </p:txBody>
      </p:sp>
    </p:spTree>
    <p:custDataLst>
      <p:tags r:id="rId2"/>
    </p:custDataLst>
    <p:extLst>
      <p:ext uri="{BB962C8B-B14F-4D97-AF65-F5344CB8AC3E}">
        <p14:creationId xmlns:p14="http://schemas.microsoft.com/office/powerpoint/2010/main" val="2364046998"/>
      </p:ext>
    </p:extLst>
  </p:cSld>
  <p:clrMapOvr>
    <a:masterClrMapping/>
  </p:clrMapOvr>
  <p:extLst>
    <p:ext uri="{DCECCB84-F9BA-43D5-87BE-67443E8EF086}">
      <p15:sldGuideLst xmlns:p15="http://schemas.microsoft.com/office/powerpoint/2012/main">
        <p15:guide id="2" pos="327">
          <p15:clr>
            <a:srgbClr val="FBAE40"/>
          </p15:clr>
        </p15:guide>
        <p15:guide id="3" pos="3320">
          <p15:clr>
            <a:srgbClr val="FBAE40"/>
          </p15:clr>
        </p15:guide>
        <p15:guide id="4" pos="309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left with white backgrou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61347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flipH="1">
            <a:off x="0" y="0"/>
            <a:ext cx="5283196" cy="6343650"/>
          </a:xfrm>
          <a:solidFill>
            <a:schemeClr val="bg2"/>
          </a:solidFill>
        </p:spPr>
        <p:txBody>
          <a:bodyPr rtlCol="0" anchor="ct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6027738" y="1268413"/>
            <a:ext cx="5905402" cy="1661993"/>
          </a:xfrm>
        </p:spPr>
        <p:txBody>
          <a:bodyPr wrap="square" rtlCol="0">
            <a:spAutoFit/>
          </a:bodyPr>
          <a:lstStyle>
            <a:lvl1pPr marL="0" indent="0" rtl="0">
              <a:spcBef>
                <a:spcPts val="0"/>
              </a:spcBef>
              <a:buNone/>
              <a:defRPr sz="3600" b="0">
                <a:solidFill>
                  <a:schemeClr val="tx1"/>
                </a:solidFill>
                <a:latin typeface="+mj-lt"/>
              </a:defRPr>
            </a:lvl1pPr>
          </a:lstStyle>
          <a:p>
            <a:pPr lvl="0" rtl="0"/>
            <a:r>
              <a:rPr lang="ro"/>
              <a:t>Picture left with </a:t>
            </a:r>
            <a:br>
              <a:rPr lang="en-GB"/>
            </a:br>
            <a:r>
              <a:rPr lang="ro"/>
              <a:t>white background,</a:t>
            </a:r>
            <a:br>
              <a:rPr lang="en-GB"/>
            </a:br>
            <a:r>
              <a:rPr lang="ro"/>
              <a:t>Arial Narrow 36 pt</a:t>
            </a:r>
            <a:endParaRPr lang="en-GB"/>
          </a:p>
        </p:txBody>
      </p:sp>
      <p:sp>
        <p:nvSpPr>
          <p:cNvPr id="6" name="Textplatzhalter 5">
            <a:extLst>
              <a:ext uri="{FF2B5EF4-FFF2-40B4-BE49-F238E27FC236}">
                <a16:creationId xmlns:a16="http://schemas.microsoft.com/office/drawing/2014/main" id="{F0EC9ECA-ABE1-1FDE-2D36-33FD46FAE6EE}"/>
              </a:ext>
            </a:extLst>
          </p:cNvPr>
          <p:cNvSpPr>
            <a:spLocks noGrp="1"/>
          </p:cNvSpPr>
          <p:nvPr>
            <p:ph type="body" sz="quarter" idx="15" hasCustomPrompt="1"/>
          </p:nvPr>
        </p:nvSpPr>
        <p:spPr>
          <a:xfrm>
            <a:off x="6027737" y="3158153"/>
            <a:ext cx="5905401" cy="1384995"/>
          </a:xfrm>
        </p:spPr>
        <p:txBody>
          <a:bodyPr wrap="square" rtlCol="0">
            <a:spAutoFit/>
          </a:bodyPr>
          <a:lstStyle>
            <a:lvl1pPr>
              <a:buClr>
                <a:schemeClr val="accent5"/>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rtl="0"/>
            <a:r>
              <a:rPr lang="ro" noProof="0"/>
              <a:t>Content text, Arial Regular 14 pt</a:t>
            </a:r>
            <a:endParaRPr lang="en-GB" noProof="0"/>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ro"/>
              <a:t>- </a:t>
            </a:r>
            <a:fld id="{94A6D44E-0BF8-4A10-A708-3AB32E33FA71}" type="slidenum">
              <a:rPr lang="en-US" smtClean="0"/>
              <a:pPr rtl="0"/>
              <a:t>‹nr.›</a:t>
            </a:fld>
            <a:r>
              <a:rPr lang="ro"/>
              <a:t> -</a:t>
            </a:r>
          </a:p>
        </p:txBody>
      </p:sp>
    </p:spTree>
    <p:custDataLst>
      <p:tags r:id="rId2"/>
    </p:custDataLst>
    <p:extLst>
      <p:ext uri="{BB962C8B-B14F-4D97-AF65-F5344CB8AC3E}">
        <p14:creationId xmlns:p14="http://schemas.microsoft.com/office/powerpoint/2010/main" val="2895788359"/>
      </p:ext>
    </p:extLst>
  </p:cSld>
  <p:clrMapOvr>
    <a:masterClrMapping/>
  </p:clrMapOvr>
  <p:extLst>
    <p:ext uri="{DCECCB84-F9BA-43D5-87BE-67443E8EF086}">
      <p15:sldGuideLst xmlns:p15="http://schemas.microsoft.com/office/powerpoint/2012/main">
        <p15:guide id="2" pos="327">
          <p15:clr>
            <a:srgbClr val="FBAE40"/>
          </p15:clr>
        </p15:guide>
        <p15:guide id="3" pos="3797">
          <p15:clr>
            <a:srgbClr val="FBAE40"/>
          </p15:clr>
        </p15:guide>
        <p15:guide id="4" pos="309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with white backgrou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61347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7"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flipH="1">
            <a:off x="0" y="0"/>
            <a:ext cx="12198350" cy="3428998"/>
          </a:xfrm>
          <a:solidFill>
            <a:schemeClr val="bg2"/>
          </a:solidFill>
        </p:spPr>
        <p:txBody>
          <a:bodyPr rtlCol="0" anchor="ctr"/>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4" y="3732055"/>
            <a:ext cx="5693567" cy="369332"/>
          </a:xfrm>
        </p:spPr>
        <p:txBody>
          <a:bodyPr wrap="square" rtlCol="0">
            <a:spAutoFit/>
          </a:bodyPr>
          <a:lstStyle>
            <a:lvl1pPr marL="0" indent="0" rtl="0">
              <a:spcBef>
                <a:spcPts val="0"/>
              </a:spcBef>
              <a:buNone/>
              <a:defRPr sz="2400" b="0">
                <a:solidFill>
                  <a:schemeClr val="tx1"/>
                </a:solidFill>
                <a:latin typeface="+mj-lt"/>
              </a:defRPr>
            </a:lvl1pPr>
          </a:lstStyle>
          <a:p>
            <a:pPr lvl="0" rtl="0"/>
            <a:r>
              <a:rPr lang="ro"/>
              <a:t>Picture with white background, Arial Narrow 24 pt</a:t>
            </a:r>
            <a:endParaRPr lang="en-GB"/>
          </a:p>
        </p:txBody>
      </p:sp>
      <p:sp>
        <p:nvSpPr>
          <p:cNvPr id="6" name="Textplatzhalter 5">
            <a:extLst>
              <a:ext uri="{FF2B5EF4-FFF2-40B4-BE49-F238E27FC236}">
                <a16:creationId xmlns:a16="http://schemas.microsoft.com/office/drawing/2014/main" id="{F0EC9ECA-ABE1-1FDE-2D36-33FD46FAE6EE}"/>
              </a:ext>
            </a:extLst>
          </p:cNvPr>
          <p:cNvSpPr>
            <a:spLocks noGrp="1"/>
          </p:cNvSpPr>
          <p:nvPr>
            <p:ph type="body" sz="quarter" idx="15" hasCustomPrompt="1"/>
          </p:nvPr>
        </p:nvSpPr>
        <p:spPr>
          <a:xfrm>
            <a:off x="519114" y="4245686"/>
            <a:ext cx="5693566" cy="1384995"/>
          </a:xfrm>
        </p:spPr>
        <p:txBody>
          <a:bodyPr wrap="square" rtlCol="0">
            <a:spAutoFit/>
          </a:bodyPr>
          <a:lstStyle>
            <a:lvl1pPr>
              <a:buClr>
                <a:schemeClr val="accent5"/>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rtl="0"/>
            <a:r>
              <a:rPr lang="ro" noProof="0"/>
              <a:t>Content text, Arial Regular 14 pt</a:t>
            </a:r>
            <a:endParaRPr lang="en-GB" noProof="0"/>
          </a:p>
          <a:p>
            <a:pPr lvl="1" rtl="0"/>
            <a:r>
              <a:rPr lang="ro" noProof="0"/>
              <a:t>Content bullet, Arial Regular 14 pt </a:t>
            </a:r>
          </a:p>
          <a:p>
            <a:pPr lvl="2" rtl="0"/>
            <a:r>
              <a:rPr lang="ro" noProof="0"/>
              <a:t>Content bullet</a:t>
            </a:r>
          </a:p>
          <a:p>
            <a:pPr lvl="3" rtl="0"/>
            <a:r>
              <a:rPr lang="ro" noProof="0"/>
              <a:t>Content bullet</a:t>
            </a:r>
          </a:p>
          <a:p>
            <a:pPr lvl="4" rtl="0"/>
            <a:r>
              <a:rPr lang="ro" noProof="0"/>
              <a:t>Content bulle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ro"/>
              <a:t> </a:t>
            </a:r>
          </a:p>
        </p:txBody>
      </p:sp>
    </p:spTree>
    <p:custDataLst>
      <p:tags r:id="rId2"/>
    </p:custDataLst>
    <p:extLst>
      <p:ext uri="{BB962C8B-B14F-4D97-AF65-F5344CB8AC3E}">
        <p14:creationId xmlns:p14="http://schemas.microsoft.com/office/powerpoint/2010/main" val="3192497498"/>
      </p:ext>
    </p:extLst>
  </p:cSld>
  <p:clrMapOvr>
    <a:masterClrMapping/>
  </p:clrMapOvr>
  <p:extLst>
    <p:ext uri="{DCECCB84-F9BA-43D5-87BE-67443E8EF086}">
      <p15:sldGuideLst xmlns:p15="http://schemas.microsoft.com/office/powerpoint/2012/main">
        <p15:guide id="2" pos="327">
          <p15:clr>
            <a:srgbClr val="FBAE40"/>
          </p15:clr>
        </p15:guide>
        <p15:guide id="3" pos="3320">
          <p15:clr>
            <a:srgbClr val="FBAE40"/>
          </p15:clr>
        </p15:guide>
        <p15:guide id="4" pos="309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16986794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615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0" name="Bildplatzhalter 59">
            <a:extLst>
              <a:ext uri="{FF2B5EF4-FFF2-40B4-BE49-F238E27FC236}">
                <a16:creationId xmlns:a16="http://schemas.microsoft.com/office/drawing/2014/main" id="{C68ED39D-79F6-496C-BE47-23074D3EF097}"/>
              </a:ext>
            </a:extLst>
          </p:cNvPr>
          <p:cNvSpPr>
            <a:spLocks noGrp="1"/>
          </p:cNvSpPr>
          <p:nvPr>
            <p:ph type="pic" sz="quarter" idx="14" hasCustomPrompt="1"/>
          </p:nvPr>
        </p:nvSpPr>
        <p:spPr>
          <a:xfrm>
            <a:off x="0" y="754"/>
            <a:ext cx="12198350" cy="5105400"/>
          </a:xfrm>
          <a:custGeom>
            <a:avLst/>
            <a:gdLst>
              <a:gd name="connsiteX0" fmla="*/ 10215479 w 12198350"/>
              <a:gd name="connsiteY0" fmla="*/ 263197 h 5105400"/>
              <a:gd name="connsiteX1" fmla="*/ 10215479 w 12198350"/>
              <a:gd name="connsiteY1" fmla="*/ 792687 h 5105400"/>
              <a:gd name="connsiteX2" fmla="*/ 11933140 w 12198350"/>
              <a:gd name="connsiteY2" fmla="*/ 792687 h 5105400"/>
              <a:gd name="connsiteX3" fmla="*/ 11933140 w 12198350"/>
              <a:gd name="connsiteY3" fmla="*/ 263197 h 5105400"/>
              <a:gd name="connsiteX4" fmla="*/ 0 w 12198350"/>
              <a:gd name="connsiteY4" fmla="*/ 0 h 5105400"/>
              <a:gd name="connsiteX5" fmla="*/ 12198350 w 12198350"/>
              <a:gd name="connsiteY5" fmla="*/ 0 h 5105400"/>
              <a:gd name="connsiteX6" fmla="*/ 12198350 w 12198350"/>
              <a:gd name="connsiteY6" fmla="*/ 5105400 h 5105400"/>
              <a:gd name="connsiteX7" fmla="*/ 8191500 w 12198350"/>
              <a:gd name="connsiteY7" fmla="*/ 5105400 h 5105400"/>
              <a:gd name="connsiteX8" fmla="*/ 8191500 w 12198350"/>
              <a:gd name="connsiteY8" fmla="*/ 4745737 h 5105400"/>
              <a:gd name="connsiteX9" fmla="*/ 0 w 12198350"/>
              <a:gd name="connsiteY9" fmla="*/ 4745737 h 510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5105400">
                <a:moveTo>
                  <a:pt x="10215479" y="263197"/>
                </a:moveTo>
                <a:lnTo>
                  <a:pt x="10215479" y="792687"/>
                </a:lnTo>
                <a:lnTo>
                  <a:pt x="11933140" y="792687"/>
                </a:lnTo>
                <a:lnTo>
                  <a:pt x="11933140" y="263197"/>
                </a:lnTo>
                <a:close/>
                <a:moveTo>
                  <a:pt x="0" y="0"/>
                </a:moveTo>
                <a:lnTo>
                  <a:pt x="12198350" y="0"/>
                </a:lnTo>
                <a:lnTo>
                  <a:pt x="12198350" y="5105400"/>
                </a:lnTo>
                <a:lnTo>
                  <a:pt x="8191500" y="5105400"/>
                </a:lnTo>
                <a:lnTo>
                  <a:pt x="8191500" y="4745737"/>
                </a:lnTo>
                <a:lnTo>
                  <a:pt x="0" y="4745737"/>
                </a:lnTo>
                <a:close/>
              </a:path>
            </a:pathLst>
          </a:custGeom>
          <a:solidFill>
            <a:schemeClr val="bg2"/>
          </a:solidFill>
        </p:spPr>
        <p:txBody>
          <a:bodyPr wrap="square" rtlCol="0" anchor="ctr">
            <a:noAutofit/>
          </a:bodyPr>
          <a:lstStyle>
            <a:lvl1pPr marL="0" indent="0" algn="ctr" rtl="0">
              <a:buNone/>
              <a:defRPr b="0"/>
            </a:lvl1pPr>
          </a:lstStyle>
          <a:p>
            <a:pPr rtl="0"/>
            <a:r>
              <a:rPr lang="ro" noProof="0"/>
              <a:t>Please insert an image</a:t>
            </a:r>
            <a:br>
              <a:rPr lang="en-GB" noProof="0"/>
            </a:br>
            <a:br>
              <a:rPr lang="en-GB" noProof="0"/>
            </a:br>
            <a:br>
              <a:rPr lang="en-GB" noProof="0"/>
            </a:br>
            <a:endParaRPr lang="en-GB"/>
          </a:p>
        </p:txBody>
      </p:sp>
      <p:sp>
        <p:nvSpPr>
          <p:cNvPr id="6" name="Textplatzhalter 5"/>
          <p:cNvSpPr>
            <a:spLocks noGrp="1"/>
          </p:cNvSpPr>
          <p:nvPr>
            <p:ph type="body" sz="quarter" idx="13" hasCustomPrompt="1"/>
          </p:nvPr>
        </p:nvSpPr>
        <p:spPr>
          <a:xfrm>
            <a:off x="519113" y="5884669"/>
            <a:ext cx="5693569" cy="246221"/>
          </a:xfrm>
        </p:spPr>
        <p:txBody>
          <a:bodyPr rtlCol="0">
            <a:noAutofit/>
          </a:bodyPr>
          <a:lstStyle>
            <a:lvl1pPr marL="0" indent="0" rtl="0">
              <a:buNone/>
              <a:defRPr sz="1600" b="0" baseline="0"/>
            </a:lvl1pPr>
          </a:lstStyle>
          <a:p>
            <a:pPr lvl="0" rtl="0"/>
            <a:r>
              <a:rPr lang="ro" noProof="0"/>
              <a:t>Subheading, Arial Regular 16 pt</a:t>
            </a:r>
          </a:p>
        </p:txBody>
      </p:sp>
      <p:sp>
        <p:nvSpPr>
          <p:cNvPr id="4" name="Textplatzhalter 3"/>
          <p:cNvSpPr>
            <a:spLocks noGrp="1"/>
          </p:cNvSpPr>
          <p:nvPr>
            <p:ph type="body" sz="quarter" idx="10" hasCustomPrompt="1"/>
          </p:nvPr>
        </p:nvSpPr>
        <p:spPr>
          <a:xfrm>
            <a:off x="519113" y="5059987"/>
            <a:ext cx="5693569" cy="553998"/>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rtl="0"/>
            <a:r>
              <a:rPr lang="ro" noProof="0"/>
              <a:t>Title slide picture, Arial Narrow</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47" name="Rechteck 46">
            <a:extLst>
              <a:ext uri="{FF2B5EF4-FFF2-40B4-BE49-F238E27FC236}">
                <a16:creationId xmlns:a16="http://schemas.microsoft.com/office/drawing/2014/main" id="{F23796B9-EFAD-464E-B54C-F2085D279C6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8" name="Rechteck 47">
            <a:extLst>
              <a:ext uri="{FF2B5EF4-FFF2-40B4-BE49-F238E27FC236}">
                <a16:creationId xmlns:a16="http://schemas.microsoft.com/office/drawing/2014/main" id="{0630DEB9-4938-44E1-B389-33145B2318F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2" name="AutoShape 4">
            <a:extLst>
              <a:ext uri="{FF2B5EF4-FFF2-40B4-BE49-F238E27FC236}">
                <a16:creationId xmlns:a16="http://schemas.microsoft.com/office/drawing/2014/main" id="{53C56AA3-1A6E-484C-8F26-BAE97EFB611D}"/>
              </a:ext>
            </a:extLst>
          </p:cNvPr>
          <p:cNvSpPr>
            <a:spLocks noChangeAspect="1" noChangeArrowheads="1" noTextEdit="1"/>
          </p:cNvSpPr>
          <p:nvPr/>
        </p:nvSpPr>
        <p:spPr bwMode="auto">
          <a:xfrm>
            <a:off x="10253602" y="26319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Tree>
    <p:custDataLst>
      <p:tags r:id="rId2"/>
    </p:custDataLst>
    <p:extLst>
      <p:ext uri="{BB962C8B-B14F-4D97-AF65-F5344CB8AC3E}">
        <p14:creationId xmlns:p14="http://schemas.microsoft.com/office/powerpoint/2010/main" val="1760434534"/>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with fullsize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5033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9395E2D8-7A93-C9D1-4986-10468039F7FE}"/>
              </a:ext>
            </a:extLst>
          </p:cNvPr>
          <p:cNvSpPr>
            <a:spLocks noGrp="1"/>
          </p:cNvSpPr>
          <p:nvPr>
            <p:ph type="pic" sz="quarter" idx="14" hasCustomPrompt="1"/>
          </p:nvPr>
        </p:nvSpPr>
        <p:spPr>
          <a:xfrm>
            <a:off x="1" y="-1"/>
            <a:ext cx="12198350" cy="6354666"/>
          </a:xfrm>
          <a:custGeom>
            <a:avLst/>
            <a:gdLst>
              <a:gd name="connsiteX0" fmla="*/ 0 w 12198350"/>
              <a:gd name="connsiteY0" fmla="*/ 0 h 6354666"/>
              <a:gd name="connsiteX1" fmla="*/ 12198350 w 12198350"/>
              <a:gd name="connsiteY1" fmla="*/ 0 h 6354666"/>
              <a:gd name="connsiteX2" fmla="*/ 12198350 w 12198350"/>
              <a:gd name="connsiteY2" fmla="*/ 6354666 h 6354666"/>
              <a:gd name="connsiteX3" fmla="*/ 0 w 12198350"/>
              <a:gd name="connsiteY3" fmla="*/ 6354666 h 6354666"/>
            </a:gdLst>
            <a:ahLst/>
            <a:cxnLst>
              <a:cxn ang="0">
                <a:pos x="connsiteX0" y="connsiteY0"/>
              </a:cxn>
              <a:cxn ang="0">
                <a:pos x="connsiteX1" y="connsiteY1"/>
              </a:cxn>
              <a:cxn ang="0">
                <a:pos x="connsiteX2" y="connsiteY2"/>
              </a:cxn>
              <a:cxn ang="0">
                <a:pos x="connsiteX3" y="connsiteY3"/>
              </a:cxn>
            </a:cxnLst>
            <a:rect l="l" t="t" r="r" b="b"/>
            <a:pathLst>
              <a:path w="12198350" h="6354666">
                <a:moveTo>
                  <a:pt x="0" y="0"/>
                </a:moveTo>
                <a:lnTo>
                  <a:pt x="12198350" y="0"/>
                </a:lnTo>
                <a:lnTo>
                  <a:pt x="12198350" y="6354666"/>
                </a:lnTo>
                <a:lnTo>
                  <a:pt x="0" y="6354666"/>
                </a:lnTo>
                <a:close/>
              </a:path>
            </a:pathLst>
          </a:custGeom>
          <a:solidFill>
            <a:schemeClr val="bg2"/>
          </a:solidFill>
        </p:spPr>
        <p:txBody>
          <a:bodyPr wrap="square" rtlCol="0" anchor="ctr">
            <a:noAutofit/>
          </a:bodyPr>
          <a:lstStyle>
            <a:lvl1pPr marL="0" indent="0" algn="ctr" rtl="0">
              <a:spcBef>
                <a:spcPts val="0"/>
              </a:spcBef>
              <a:buNone/>
              <a:defRPr b="0"/>
            </a:lvl1pPr>
          </a:lstStyle>
          <a:p>
            <a:pPr rtl="0"/>
            <a:r>
              <a:rPr lang="ro" noProof="0"/>
              <a:t>Please insert an image</a:t>
            </a:r>
            <a:br>
              <a:rPr lang="en-GB" noProof="0"/>
            </a:br>
            <a:br>
              <a:rPr lang="en-GB" noProof="0"/>
            </a:br>
            <a:br>
              <a:rPr lang="en-GB" noProof="0"/>
            </a:br>
            <a:br>
              <a:rPr lang="en-GB" noProof="0"/>
            </a:b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lvl1pPr>
              <a:defRPr>
                <a:solidFill>
                  <a:schemeClr val="tx1"/>
                </a:solidFill>
              </a:defRPr>
            </a:lvl1pPr>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lvl1pPr>
              <a:defRPr>
                <a:solidFill>
                  <a:schemeClr val="tx1"/>
                </a:solidFill>
              </a:defRPr>
            </a:lvl1pPr>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lvl1pPr>
              <a:defRPr>
                <a:solidFill>
                  <a:schemeClr val="tx1"/>
                </a:solidFill>
              </a:defRPr>
            </a:lvl1pPr>
          </a:lstStyle>
          <a:p>
            <a:pPr rtl="0"/>
            <a:r>
              <a:rPr lang="ro"/>
              <a:t>- </a:t>
            </a:r>
            <a:fld id="{94A6D44E-0BF8-4A10-A708-3AB32E33FA71}" type="slidenum">
              <a:rPr lang="en-US" smtClean="0"/>
              <a:pPr rtl="0"/>
              <a:t>‹nr.›</a:t>
            </a:fld>
            <a:r>
              <a:rPr lang="ro"/>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ro"/>
              <a:t> </a:t>
            </a:r>
          </a:p>
        </p:txBody>
      </p:sp>
      <p:sp>
        <p:nvSpPr>
          <p:cNvPr id="5" name="Textplatzhalter 4">
            <a:extLst>
              <a:ext uri="{FF2B5EF4-FFF2-40B4-BE49-F238E27FC236}">
                <a16:creationId xmlns:a16="http://schemas.microsoft.com/office/drawing/2014/main" id="{90144922-CE7D-630F-ECDA-E95C49B396AF}"/>
              </a:ext>
            </a:extLst>
          </p:cNvPr>
          <p:cNvSpPr>
            <a:spLocks noGrp="1"/>
          </p:cNvSpPr>
          <p:nvPr>
            <p:ph type="body" sz="quarter" idx="21" hasCustomPrompt="1"/>
          </p:nvPr>
        </p:nvSpPr>
        <p:spPr>
          <a:xfrm>
            <a:off x="6843159" y="4569274"/>
            <a:ext cx="5089525" cy="1308050"/>
          </a:xfrm>
        </p:spPr>
        <p:txBody>
          <a:bodyPr rtlCol="0">
            <a:spAutoFit/>
          </a:bodyPr>
          <a:lstStyle>
            <a:lvl1pPr marL="0" indent="0">
              <a:buNone/>
              <a:defRPr sz="3200" b="0">
                <a:solidFill>
                  <a:schemeClr val="bg1"/>
                </a:solidFill>
                <a:latin typeface="+mj-lt"/>
              </a:defRPr>
            </a:lvl1pPr>
            <a:lvl2pPr marL="0" indent="0">
              <a:buNone/>
              <a:defRPr b="0">
                <a:solidFill>
                  <a:schemeClr val="bg1"/>
                </a:solidFill>
              </a:defRPr>
            </a:lvl2pPr>
          </a:lstStyle>
          <a:p>
            <a:pPr lvl="0" rtl="0"/>
            <a:r>
              <a:rPr lang="ro"/>
              <a:t>„Quote with fullsize picture,</a:t>
            </a:r>
            <a:br>
              <a:rPr lang="en-US"/>
            </a:br>
            <a:r>
              <a:rPr lang="ro"/>
              <a:t>Arial Narrow 32 pt“</a:t>
            </a:r>
          </a:p>
          <a:p>
            <a:pPr lvl="1" rtl="0"/>
            <a:r>
              <a:rPr lang="ro" sz="1600">
                <a:solidFill>
                  <a:schemeClr val="bg1"/>
                </a:solidFill>
              </a:rPr>
              <a:t>Author</a:t>
            </a:r>
            <a:endParaRPr lang="en-GB"/>
          </a:p>
        </p:txBody>
      </p:sp>
      <p:sp>
        <p:nvSpPr>
          <p:cNvPr id="6" name="Rechteck 5">
            <a:extLst>
              <a:ext uri="{FF2B5EF4-FFF2-40B4-BE49-F238E27FC236}">
                <a16:creationId xmlns:a16="http://schemas.microsoft.com/office/drawing/2014/main" id="{7C8BFCFB-39B2-39F4-ACEB-B4932EB8B4E0}"/>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8" name="Rechteck 7">
            <a:extLst>
              <a:ext uri="{FF2B5EF4-FFF2-40B4-BE49-F238E27FC236}">
                <a16:creationId xmlns:a16="http://schemas.microsoft.com/office/drawing/2014/main" id="{FC5597AE-422B-84CA-4F8E-6F4832E032C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1372585307"/>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arge key message with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12120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5"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Bildplatzhalter 24">
            <a:extLst>
              <a:ext uri="{FF2B5EF4-FFF2-40B4-BE49-F238E27FC236}">
                <a16:creationId xmlns:a16="http://schemas.microsoft.com/office/drawing/2014/main" id="{8270C5EA-3DB8-4C9C-8A48-34AC74D72960}"/>
              </a:ext>
            </a:extLst>
          </p:cNvPr>
          <p:cNvSpPr>
            <a:spLocks noGrp="1"/>
          </p:cNvSpPr>
          <p:nvPr>
            <p:ph type="pic" sz="quarter" idx="15" hasCustomPrompt="1"/>
          </p:nvPr>
        </p:nvSpPr>
        <p:spPr>
          <a:xfrm>
            <a:off x="8201025" y="0"/>
            <a:ext cx="3997325" cy="6343200"/>
          </a:xfrm>
          <a:custGeom>
            <a:avLst/>
            <a:gdLst>
              <a:gd name="connsiteX0" fmla="*/ 2513563 w 3997325"/>
              <a:gd name="connsiteY0" fmla="*/ 263197 h 6345238"/>
              <a:gd name="connsiteX1" fmla="*/ 2513563 w 3997325"/>
              <a:gd name="connsiteY1" fmla="*/ 638831 h 6345238"/>
              <a:gd name="connsiteX2" fmla="*/ 3732115 w 3997325"/>
              <a:gd name="connsiteY2" fmla="*/ 638831 h 6345238"/>
              <a:gd name="connsiteX3" fmla="*/ 3732115 w 3997325"/>
              <a:gd name="connsiteY3" fmla="*/ 263197 h 6345238"/>
              <a:gd name="connsiteX4" fmla="*/ 0 w 3997325"/>
              <a:gd name="connsiteY4" fmla="*/ 0 h 6345238"/>
              <a:gd name="connsiteX5" fmla="*/ 3997325 w 3997325"/>
              <a:gd name="connsiteY5" fmla="*/ 0 h 6345238"/>
              <a:gd name="connsiteX6" fmla="*/ 3997325 w 3997325"/>
              <a:gd name="connsiteY6" fmla="*/ 6345238 h 6345238"/>
              <a:gd name="connsiteX7" fmla="*/ 0 w 3997325"/>
              <a:gd name="connsiteY7" fmla="*/ 6345238 h 634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7325" h="6345238">
                <a:moveTo>
                  <a:pt x="2513563" y="263197"/>
                </a:moveTo>
                <a:lnTo>
                  <a:pt x="2513563" y="638831"/>
                </a:lnTo>
                <a:lnTo>
                  <a:pt x="3732115" y="638831"/>
                </a:lnTo>
                <a:lnTo>
                  <a:pt x="3732115" y="263197"/>
                </a:lnTo>
                <a:close/>
                <a:moveTo>
                  <a:pt x="0" y="0"/>
                </a:moveTo>
                <a:lnTo>
                  <a:pt x="3997325" y="0"/>
                </a:lnTo>
                <a:lnTo>
                  <a:pt x="3997325" y="6345238"/>
                </a:lnTo>
                <a:lnTo>
                  <a:pt x="0" y="6345238"/>
                </a:lnTo>
                <a:close/>
              </a:path>
            </a:pathLst>
          </a:custGeom>
          <a:solidFill>
            <a:schemeClr val="bg2"/>
          </a:solidFill>
        </p:spPr>
        <p:txBody>
          <a:bodyPr wrap="square" rtlCol="0" anchor="ctr">
            <a:noAutofit/>
          </a:bodyPr>
          <a:lstStyle>
            <a:lvl1pPr marL="0" indent="0" algn="ctr" rtl="0">
              <a:buNone/>
              <a:defRPr b="0"/>
            </a:lvl1pPr>
          </a:lstStyle>
          <a:p>
            <a:pPr rtl="0"/>
            <a:r>
              <a:rPr lang="ro"/>
              <a:t>Please insert an image</a:t>
            </a:r>
            <a:br>
              <a:rPr lang="en-GB"/>
            </a:br>
            <a:br>
              <a:rPr lang="en-GB"/>
            </a:br>
            <a:br>
              <a:rPr lang="en-GB"/>
            </a:br>
            <a:endParaRPr lang="en-GB"/>
          </a:p>
        </p:txBody>
      </p:sp>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GB" smtClean="0"/>
              <a:pPr rtl="0"/>
              <a:t>‹nr.›</a:t>
            </a:fld>
            <a:r>
              <a:rPr lang="ro"/>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3" y="1268413"/>
            <a:ext cx="7608887" cy="1578894"/>
          </a:xfrm>
        </p:spPr>
        <p:txBody>
          <a:bodyPr wrap="square" rtlCol="0">
            <a:spAutoFit/>
          </a:bodyPr>
          <a:lstStyle>
            <a:lvl1pPr marL="0" indent="0" rtl="0">
              <a:lnSpc>
                <a:spcPct val="95000"/>
              </a:lnSpc>
              <a:buNone/>
              <a:defRPr sz="5400" b="0">
                <a:latin typeface="+mj-lt"/>
              </a:defRPr>
            </a:lvl1pPr>
          </a:lstStyle>
          <a:p>
            <a:pPr rtl="0"/>
            <a:r>
              <a:rPr lang="ro"/>
              <a:t>Large key message with picture, Arial Narrow 54 pt</a:t>
            </a:r>
          </a:p>
        </p:txBody>
      </p:sp>
      <p:sp>
        <p:nvSpPr>
          <p:cNvPr id="12" name="Textplatzhalter 11">
            <a:extLst>
              <a:ext uri="{FF2B5EF4-FFF2-40B4-BE49-F238E27FC236}">
                <a16:creationId xmlns:a16="http://schemas.microsoft.com/office/drawing/2014/main" id="{CEEFE604-F18B-42FD-BAAF-8792C6446994}"/>
              </a:ext>
            </a:extLst>
          </p:cNvPr>
          <p:cNvSpPr>
            <a:spLocks noGrp="1"/>
          </p:cNvSpPr>
          <p:nvPr>
            <p:ph type="body" sz="quarter" idx="14" hasCustomPrompt="1"/>
          </p:nvPr>
        </p:nvSpPr>
        <p:spPr>
          <a:xfrm>
            <a:off x="519114" y="3081663"/>
            <a:ext cx="7608887" cy="215444"/>
          </a:xfrm>
        </p:spPr>
        <p:txBody>
          <a:bodyPr wrap="square" rtlCol="0">
            <a:spAutoFit/>
          </a:bodyPr>
          <a:lstStyle>
            <a:lvl1pPr marL="0" indent="0" rtl="0">
              <a:buNone/>
              <a:defRPr sz="1400" b="0"/>
            </a:lvl1pPr>
          </a:lstStyle>
          <a:p>
            <a:pPr lvl="0" rtl="0"/>
            <a:r>
              <a:rPr lang="ro" noProof="0"/>
              <a:t>Content text, Arial Regular 14 pt</a:t>
            </a:r>
            <a:endParaRPr lang="en-GB" noProof="0"/>
          </a:p>
        </p:txBody>
      </p:sp>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786D53B5-B249-42ED-B8D5-2598E5D7AE95}"/>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Tree>
    <p:custDataLst>
      <p:tags r:id="rId2"/>
    </p:custDataLst>
    <p:extLst>
      <p:ext uri="{BB962C8B-B14F-4D97-AF65-F5344CB8AC3E}">
        <p14:creationId xmlns:p14="http://schemas.microsoft.com/office/powerpoint/2010/main" val="1350572830"/>
      </p:ext>
    </p:extLst>
  </p:cSld>
  <p:clrMapOvr>
    <a:masterClrMapping/>
  </p:clrMapOvr>
  <p:extLst>
    <p:ext uri="{DCECCB84-F9BA-43D5-87BE-67443E8EF086}">
      <p15:sldGuideLst xmlns:p15="http://schemas.microsoft.com/office/powerpoint/2012/main">
        <p15:guide id="1" pos="5112">
          <p15:clr>
            <a:srgbClr val="FBAE40"/>
          </p15:clr>
        </p15:guide>
        <p15:guide id="2" pos="5164">
          <p15:clr>
            <a:srgbClr val="FBAE40"/>
          </p15:clr>
        </p15:guide>
        <p15:guide id="3" pos="3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arge title and gray backgroun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76374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GB" smtClean="0"/>
              <a:pPr rtl="0"/>
              <a:t>‹nr.›</a:t>
            </a:fld>
            <a:r>
              <a:rPr lang="ro"/>
              <a:t> -</a:t>
            </a:r>
          </a:p>
        </p:txBody>
      </p:sp>
      <p:sp>
        <p:nvSpPr>
          <p:cNvPr id="6" name="Titel 5">
            <a:extLst>
              <a:ext uri="{FF2B5EF4-FFF2-40B4-BE49-F238E27FC236}">
                <a16:creationId xmlns:a16="http://schemas.microsoft.com/office/drawing/2014/main" id="{2B07B292-2432-43AE-A9DC-E57B6304BACB}"/>
              </a:ext>
            </a:extLst>
          </p:cNvPr>
          <p:cNvSpPr>
            <a:spLocks noGrp="1"/>
          </p:cNvSpPr>
          <p:nvPr>
            <p:ph type="title" hasCustomPrompt="1"/>
          </p:nvPr>
        </p:nvSpPr>
        <p:spPr>
          <a:xfrm>
            <a:off x="519113" y="401503"/>
            <a:ext cx="9431338" cy="677108"/>
          </a:xfrm>
        </p:spPr>
        <p:txBody>
          <a:bodyPr vert="horz" rtlCol="0"/>
          <a:lstStyle>
            <a:lvl1pPr rtl="0">
              <a:defRPr sz="4400" b="0"/>
            </a:lvl1pPr>
          </a:lstStyle>
          <a:p>
            <a:pPr rtl="0"/>
            <a:r>
              <a:rPr lang="ro" noProof="0"/>
              <a:t>Large title and gray background, 44 pt</a:t>
            </a:r>
          </a:p>
        </p:txBody>
      </p:sp>
      <p:sp>
        <p:nvSpPr>
          <p:cNvPr id="2" name="Rechteck 1">
            <a:extLst>
              <a:ext uri="{FF2B5EF4-FFF2-40B4-BE49-F238E27FC236}">
                <a16:creationId xmlns:a16="http://schemas.microsoft.com/office/drawing/2014/main" id="{4B79ACFF-F235-46E5-A486-E4FEE8D6B9B2}"/>
              </a:ext>
            </a:extLst>
          </p:cNvPr>
          <p:cNvSpPr/>
          <p:nvPr userDrawn="1"/>
        </p:nvSpPr>
        <p:spPr>
          <a:xfrm>
            <a:off x="0" y="1484313"/>
            <a:ext cx="12198350" cy="48609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a:solidFill>
                <a:schemeClr val="tx1"/>
              </a:solidFill>
              <a:latin typeface="Arial" panose="020B0604020202020204" pitchFamily="34" charset="0"/>
              <a:cs typeface="Arial" panose="020B0604020202020204" pitchFamily="34" charset="0"/>
            </a:endParaRPr>
          </a:p>
        </p:txBody>
      </p:sp>
      <p:sp>
        <p:nvSpPr>
          <p:cNvPr id="17" name="Inhaltsplatzhalter 16">
            <a:extLst>
              <a:ext uri="{FF2B5EF4-FFF2-40B4-BE49-F238E27FC236}">
                <a16:creationId xmlns:a16="http://schemas.microsoft.com/office/drawing/2014/main" id="{AD2A2C3E-A9A9-4232-9D91-C3A337AA91A1}"/>
              </a:ext>
            </a:extLst>
          </p:cNvPr>
          <p:cNvSpPr>
            <a:spLocks noGrp="1"/>
          </p:cNvSpPr>
          <p:nvPr>
            <p:ph sz="quarter" idx="13" hasCustomPrompt="1"/>
          </p:nvPr>
        </p:nvSpPr>
        <p:spPr>
          <a:xfrm>
            <a:off x="519113" y="1630363"/>
            <a:ext cx="11412537" cy="4498975"/>
          </a:xfrm>
        </p:spPr>
        <p:txBody>
          <a:bodyPr rtlCol="0"/>
          <a:lstStyle>
            <a:lvl1pPr rtl="0">
              <a:defRPr/>
            </a:lvl1pPr>
            <a:lvl2pPr rtl="0">
              <a:defRPr/>
            </a:lvl2pPr>
            <a:lvl3pPr rtl="0">
              <a:defRPr/>
            </a:lvl3pPr>
            <a:lvl4pPr rtl="0">
              <a:defRPr/>
            </a:lvl4pPr>
            <a:lvl5pPr rtl="0">
              <a:defRPr/>
            </a:lvl5pPr>
          </a:lstStyle>
          <a:p>
            <a:pPr lvl="0" rtl="0"/>
            <a:r>
              <a:rPr lang="ro" noProof="0"/>
              <a:t>Content text, Arial Regular 16 pt</a:t>
            </a:r>
          </a:p>
          <a:p>
            <a:pPr lvl="1" rtl="0"/>
            <a:r>
              <a:rPr lang="ro" noProof="0"/>
              <a:t>Content bullet, Arial Regular 16 pt </a:t>
            </a:r>
          </a:p>
          <a:p>
            <a:pPr lvl="2" rtl="0"/>
            <a:r>
              <a:rPr lang="ro" noProof="0"/>
              <a:t>Content bullet</a:t>
            </a:r>
          </a:p>
          <a:p>
            <a:pPr lvl="3" rtl="0"/>
            <a:r>
              <a:rPr lang="ro" noProof="0"/>
              <a:t>Content bullet</a:t>
            </a:r>
          </a:p>
          <a:p>
            <a:pPr lvl="4" rtl="0"/>
            <a:r>
              <a:rPr lang="ro" noProof="0"/>
              <a:t>Content bullet</a:t>
            </a:r>
            <a:endParaRPr lang="en-GB"/>
          </a:p>
        </p:txBody>
      </p:sp>
    </p:spTree>
    <p:custDataLst>
      <p:tags r:id="rId2"/>
    </p:custDataLst>
    <p:extLst>
      <p:ext uri="{BB962C8B-B14F-4D97-AF65-F5344CB8AC3E}">
        <p14:creationId xmlns:p14="http://schemas.microsoft.com/office/powerpoint/2010/main" val="2143525933"/>
      </p:ext>
    </p:extLst>
  </p:cSld>
  <p:clrMapOvr>
    <a:masterClrMapping/>
  </p:clrMapOvr>
  <p:extLst>
    <p:ext uri="{DCECCB84-F9BA-43D5-87BE-67443E8EF086}">
      <p15:sldGuideLst xmlns:p15="http://schemas.microsoft.com/office/powerpoint/2012/main">
        <p15:guide id="1" pos="327">
          <p15:clr>
            <a:srgbClr val="FBAE40"/>
          </p15:clr>
        </p15:guide>
        <p15:guide id="2" orient="horz" pos="102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1722030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530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 name="Textplatzhalter 3"/>
          <p:cNvSpPr>
            <a:spLocks noGrp="1"/>
          </p:cNvSpPr>
          <p:nvPr>
            <p:ph type="body" sz="quarter" idx="10" hasCustomPrompt="1"/>
          </p:nvPr>
        </p:nvSpPr>
        <p:spPr>
          <a:xfrm>
            <a:off x="519113" y="5059987"/>
            <a:ext cx="5693569" cy="1107996"/>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lvl="0" rtl="0"/>
            <a:r>
              <a:rPr lang="ro" noProof="0"/>
              <a:t>Thank you for your attention,</a:t>
            </a:r>
            <a:br>
              <a:rPr lang="en-GB" noProof="0"/>
            </a:br>
            <a:r>
              <a:rPr lang="ro" noProof="0"/>
              <a:t>Arial Narrow 36 pt</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47" name="Rechteck 46">
            <a:extLst>
              <a:ext uri="{FF2B5EF4-FFF2-40B4-BE49-F238E27FC236}">
                <a16:creationId xmlns:a16="http://schemas.microsoft.com/office/drawing/2014/main" id="{A3BB5194-F422-4CF4-A3E4-0A5F0299250F}"/>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9" name="Rechteck 48">
            <a:extLst>
              <a:ext uri="{FF2B5EF4-FFF2-40B4-BE49-F238E27FC236}">
                <a16:creationId xmlns:a16="http://schemas.microsoft.com/office/drawing/2014/main" id="{215F2271-2C7B-4893-B6EC-5F4FE8B1477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2" name="Bildplatzhalter 51">
            <a:extLst>
              <a:ext uri="{FF2B5EF4-FFF2-40B4-BE49-F238E27FC236}">
                <a16:creationId xmlns:a16="http://schemas.microsoft.com/office/drawing/2014/main" id="{C3D6CA64-CE22-4C0E-B89B-8854D67040F6}"/>
              </a:ext>
            </a:extLst>
          </p:cNvPr>
          <p:cNvSpPr>
            <a:spLocks noGrp="1"/>
          </p:cNvSpPr>
          <p:nvPr>
            <p:ph type="pic" sz="quarter" idx="14" hasCustomPrompt="1"/>
          </p:nvPr>
        </p:nvSpPr>
        <p:spPr>
          <a:xfrm>
            <a:off x="0" y="754"/>
            <a:ext cx="12198350" cy="5105400"/>
          </a:xfrm>
          <a:custGeom>
            <a:avLst/>
            <a:gdLst>
              <a:gd name="connsiteX0" fmla="*/ 10215479 w 12198350"/>
              <a:gd name="connsiteY0" fmla="*/ 263197 h 5105400"/>
              <a:gd name="connsiteX1" fmla="*/ 10215479 w 12198350"/>
              <a:gd name="connsiteY1" fmla="*/ 792687 h 5105400"/>
              <a:gd name="connsiteX2" fmla="*/ 11933140 w 12198350"/>
              <a:gd name="connsiteY2" fmla="*/ 792687 h 5105400"/>
              <a:gd name="connsiteX3" fmla="*/ 11933140 w 12198350"/>
              <a:gd name="connsiteY3" fmla="*/ 263197 h 5105400"/>
              <a:gd name="connsiteX4" fmla="*/ 0 w 12198350"/>
              <a:gd name="connsiteY4" fmla="*/ 0 h 5105400"/>
              <a:gd name="connsiteX5" fmla="*/ 12198350 w 12198350"/>
              <a:gd name="connsiteY5" fmla="*/ 0 h 5105400"/>
              <a:gd name="connsiteX6" fmla="*/ 12198350 w 12198350"/>
              <a:gd name="connsiteY6" fmla="*/ 5105400 h 5105400"/>
              <a:gd name="connsiteX7" fmla="*/ 8191500 w 12198350"/>
              <a:gd name="connsiteY7" fmla="*/ 5105400 h 5105400"/>
              <a:gd name="connsiteX8" fmla="*/ 8191500 w 12198350"/>
              <a:gd name="connsiteY8" fmla="*/ 4745737 h 5105400"/>
              <a:gd name="connsiteX9" fmla="*/ 0 w 12198350"/>
              <a:gd name="connsiteY9" fmla="*/ 4745737 h 510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5105400">
                <a:moveTo>
                  <a:pt x="10215479" y="263197"/>
                </a:moveTo>
                <a:lnTo>
                  <a:pt x="10215479" y="792687"/>
                </a:lnTo>
                <a:lnTo>
                  <a:pt x="11933140" y="792687"/>
                </a:lnTo>
                <a:lnTo>
                  <a:pt x="11933140" y="263197"/>
                </a:lnTo>
                <a:close/>
                <a:moveTo>
                  <a:pt x="0" y="0"/>
                </a:moveTo>
                <a:lnTo>
                  <a:pt x="12198350" y="0"/>
                </a:lnTo>
                <a:lnTo>
                  <a:pt x="12198350" y="5105400"/>
                </a:lnTo>
                <a:lnTo>
                  <a:pt x="8191500" y="5105400"/>
                </a:lnTo>
                <a:lnTo>
                  <a:pt x="8191500" y="4745737"/>
                </a:lnTo>
                <a:lnTo>
                  <a:pt x="0" y="4745737"/>
                </a:lnTo>
                <a:close/>
              </a:path>
            </a:pathLst>
          </a:custGeom>
          <a:solidFill>
            <a:schemeClr val="bg2"/>
          </a:solidFill>
        </p:spPr>
        <p:txBody>
          <a:bodyPr wrap="square" rtlCol="0" anchor="ctr">
            <a:noAutofit/>
          </a:bodyPr>
          <a:lstStyle>
            <a:lvl1pPr marL="0" indent="0" algn="ctr" rtl="0">
              <a:buNone/>
              <a:defRPr b="0"/>
            </a:lvl1pPr>
          </a:lstStyle>
          <a:p>
            <a:pPr rtl="0"/>
            <a:r>
              <a:rPr lang="ro" noProof="0"/>
              <a:t>Please insert an image</a:t>
            </a:r>
            <a:br>
              <a:rPr lang="en-GB" noProof="0"/>
            </a:br>
            <a:br>
              <a:rPr lang="en-GB" noProof="0"/>
            </a:br>
            <a:br>
              <a:rPr lang="en-GB" noProof="0"/>
            </a:br>
            <a:endParaRPr lang="en-GB"/>
          </a:p>
        </p:txBody>
      </p:sp>
    </p:spTree>
    <p:custDataLst>
      <p:tags r:id="rId2"/>
    </p:custDataLst>
    <p:extLst>
      <p:ext uri="{BB962C8B-B14F-4D97-AF65-F5344CB8AC3E}">
        <p14:creationId xmlns:p14="http://schemas.microsoft.com/office/powerpoint/2010/main" val="3615796510"/>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5772505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632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8" name="Bildplatzhalter 67">
            <a:extLst>
              <a:ext uri="{FF2B5EF4-FFF2-40B4-BE49-F238E27FC236}">
                <a16:creationId xmlns:a16="http://schemas.microsoft.com/office/drawing/2014/main" id="{96B1D410-3F2D-42FA-B47A-3D9E7AAA025F}"/>
              </a:ext>
            </a:extLst>
          </p:cNvPr>
          <p:cNvSpPr>
            <a:spLocks noGrp="1"/>
          </p:cNvSpPr>
          <p:nvPr>
            <p:ph type="pic" sz="quarter" idx="16" hasCustomPrompt="1"/>
          </p:nvPr>
        </p:nvSpPr>
        <p:spPr>
          <a:xfrm>
            <a:off x="0" y="0"/>
            <a:ext cx="12198350" cy="4030663"/>
          </a:xfrm>
          <a:custGeom>
            <a:avLst/>
            <a:gdLst>
              <a:gd name="connsiteX0" fmla="*/ 10215479 w 12198350"/>
              <a:gd name="connsiteY0" fmla="*/ 263197 h 4030663"/>
              <a:gd name="connsiteX1" fmla="*/ 10215479 w 12198350"/>
              <a:gd name="connsiteY1" fmla="*/ 792687 h 4030663"/>
              <a:gd name="connsiteX2" fmla="*/ 11933140 w 12198350"/>
              <a:gd name="connsiteY2" fmla="*/ 792687 h 4030663"/>
              <a:gd name="connsiteX3" fmla="*/ 11933140 w 12198350"/>
              <a:gd name="connsiteY3" fmla="*/ 263197 h 4030663"/>
              <a:gd name="connsiteX4" fmla="*/ 0 w 12198350"/>
              <a:gd name="connsiteY4" fmla="*/ 0 h 4030663"/>
              <a:gd name="connsiteX5" fmla="*/ 12198350 w 12198350"/>
              <a:gd name="connsiteY5" fmla="*/ 0 h 4030663"/>
              <a:gd name="connsiteX6" fmla="*/ 12198350 w 12198350"/>
              <a:gd name="connsiteY6" fmla="*/ 4030663 h 4030663"/>
              <a:gd name="connsiteX7" fmla="*/ 8191500 w 12198350"/>
              <a:gd name="connsiteY7" fmla="*/ 4030663 h 4030663"/>
              <a:gd name="connsiteX8" fmla="*/ 8191500 w 12198350"/>
              <a:gd name="connsiteY8" fmla="*/ 3671000 h 4030663"/>
              <a:gd name="connsiteX9" fmla="*/ 0 w 12198350"/>
              <a:gd name="connsiteY9" fmla="*/ 3671000 h 40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4030663">
                <a:moveTo>
                  <a:pt x="10215479" y="263197"/>
                </a:moveTo>
                <a:lnTo>
                  <a:pt x="10215479" y="792687"/>
                </a:lnTo>
                <a:lnTo>
                  <a:pt x="11933140" y="792687"/>
                </a:lnTo>
                <a:lnTo>
                  <a:pt x="11933140" y="263197"/>
                </a:lnTo>
                <a:close/>
                <a:moveTo>
                  <a:pt x="0" y="0"/>
                </a:moveTo>
                <a:lnTo>
                  <a:pt x="12198350" y="0"/>
                </a:lnTo>
                <a:lnTo>
                  <a:pt x="12198350" y="4030663"/>
                </a:lnTo>
                <a:lnTo>
                  <a:pt x="8191500" y="4030663"/>
                </a:lnTo>
                <a:lnTo>
                  <a:pt x="8191500" y="3671000"/>
                </a:lnTo>
                <a:lnTo>
                  <a:pt x="0" y="3671000"/>
                </a:lnTo>
                <a:close/>
              </a:path>
            </a:pathLst>
          </a:custGeom>
          <a:solidFill>
            <a:schemeClr val="bg2"/>
          </a:solidFill>
        </p:spPr>
        <p:txBody>
          <a:bodyPr wrap="square" rtlCol="0" anchor="ctr">
            <a:noAutofit/>
          </a:bodyPr>
          <a:lstStyle>
            <a:lvl1pPr marL="0" indent="0" algn="ctr">
              <a:buNone/>
              <a:defRPr/>
            </a:lvl1pPr>
          </a:lstStyle>
          <a:p>
            <a:pPr rtl="0"/>
            <a:r>
              <a:rPr lang="ro"/>
              <a:t>Please insert an image</a:t>
            </a:r>
            <a:br>
              <a:rPr lang="en-US" noProof="0"/>
            </a:br>
            <a:br>
              <a:rPr lang="en-US" noProof="0"/>
            </a:br>
            <a:br>
              <a:rPr lang="en-US" noProof="0"/>
            </a:br>
            <a:endParaRPr lang="en-US"/>
          </a:p>
        </p:txBody>
      </p:sp>
      <p:sp>
        <p:nvSpPr>
          <p:cNvPr id="4" name="Textplatzhalter 3"/>
          <p:cNvSpPr>
            <a:spLocks noGrp="1"/>
          </p:cNvSpPr>
          <p:nvPr>
            <p:ph type="body" sz="quarter" idx="10" hasCustomPrompt="1"/>
          </p:nvPr>
        </p:nvSpPr>
        <p:spPr>
          <a:xfrm>
            <a:off x="519113" y="3927884"/>
            <a:ext cx="5693569" cy="553998"/>
          </a:xfrm>
          <a:noFill/>
        </p:spPr>
        <p:txBody>
          <a:bodyPr wrap="square" lIns="0" tIns="0" rIns="0" bIns="0" rtlCol="0" anchor="t">
            <a:spAutoFit/>
          </a:bodyPr>
          <a:lstStyle>
            <a:lvl1pPr marL="0" indent="0">
              <a:buNone/>
              <a:defRPr sz="3600" b="0" cap="none" baseline="0">
                <a:solidFill>
                  <a:schemeClr val="tx1"/>
                </a:solidFill>
                <a:latin typeface="+mj-lt"/>
              </a:defRPr>
            </a:lvl1pPr>
          </a:lstStyle>
          <a:p>
            <a:pPr lvl="0" rtl="0"/>
            <a:r>
              <a:rPr lang="ro"/>
              <a:t>Thank you for your attention!</a:t>
            </a:r>
            <a:endParaRPr lang="en-US" noProof="0"/>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US"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US"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US"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noProof="0"/>
            </a:p>
          </p:txBody>
        </p:sp>
      </p:grpSp>
      <p:sp>
        <p:nvSpPr>
          <p:cNvPr id="52" name="Textplatzhalter 3">
            <a:extLst>
              <a:ext uri="{FF2B5EF4-FFF2-40B4-BE49-F238E27FC236}">
                <a16:creationId xmlns:a16="http://schemas.microsoft.com/office/drawing/2014/main" id="{62607DD7-FD68-423F-8CAD-9C36FF1605D4}"/>
              </a:ext>
            </a:extLst>
          </p:cNvPr>
          <p:cNvSpPr>
            <a:spLocks noGrp="1"/>
          </p:cNvSpPr>
          <p:nvPr userDrawn="1">
            <p:ph type="body" sz="quarter" idx="15" hasCustomPrompt="1"/>
          </p:nvPr>
        </p:nvSpPr>
        <p:spPr>
          <a:xfrm>
            <a:off x="519113" y="4616862"/>
            <a:ext cx="5693569" cy="215444"/>
          </a:xfrm>
          <a:noFill/>
        </p:spPr>
        <p:txBody>
          <a:bodyPr wrap="square" lIns="0" tIns="0" rIns="0" bIns="0" rtlCol="0" anchor="t">
            <a:spAutoFit/>
          </a:bodyPr>
          <a:lstStyle>
            <a:lvl1pPr marL="0" indent="0">
              <a:buNone/>
              <a:defRPr sz="1400" b="0" cap="none" baseline="0">
                <a:solidFill>
                  <a:schemeClr val="tx1"/>
                </a:solidFill>
                <a:latin typeface="+mn-lt"/>
              </a:defRPr>
            </a:lvl1pPr>
          </a:lstStyle>
          <a:p>
            <a:pPr lvl="0" rtl="0"/>
            <a:r>
              <a:rPr lang="ro"/>
              <a:t>Name</a:t>
            </a:r>
            <a:endParaRPr lang="en-US" noProof="0"/>
          </a:p>
        </p:txBody>
      </p:sp>
      <p:sp>
        <p:nvSpPr>
          <p:cNvPr id="5" name="Textfeld 4">
            <a:extLst>
              <a:ext uri="{FF2B5EF4-FFF2-40B4-BE49-F238E27FC236}">
                <a16:creationId xmlns:a16="http://schemas.microsoft.com/office/drawing/2014/main" id="{9B937BC0-8AED-4A00-A6CF-A1A6A8BA801D}"/>
              </a:ext>
            </a:extLst>
          </p:cNvPr>
          <p:cNvSpPr txBox="1">
            <a:spLocks/>
          </p:cNvSpPr>
          <p:nvPr userDrawn="1"/>
        </p:nvSpPr>
        <p:spPr>
          <a:xfrm>
            <a:off x="8200799" y="4616862"/>
            <a:ext cx="3711753" cy="430887"/>
          </a:xfrm>
          <a:prstGeom prst="rect">
            <a:avLst/>
          </a:prstGeom>
          <a:noFill/>
        </p:spPr>
        <p:txBody>
          <a:bodyPr wrap="square" lIns="0" tIns="0" rIns="0" bIns="0" rtlCol="0">
            <a:spAutoFit/>
          </a:bodyPr>
          <a:lstStyle/>
          <a:p>
            <a:pPr rtl="0"/>
            <a:r>
              <a:rPr lang="ro" sz="1400">
                <a:latin typeface="Arial" panose="020B0604020202020204" pitchFamily="34" charset="0"/>
                <a:cs typeface="Arial" panose="020B0604020202020204" pitchFamily="34" charset="0"/>
              </a:rPr>
              <a:t>Learn more about our company</a:t>
            </a:r>
            <a:br>
              <a:rPr lang="en-US" sz="1400">
                <a:latin typeface="Arial" panose="020B0604020202020204" pitchFamily="34" charset="0"/>
                <a:cs typeface="Arial" panose="020B0604020202020204" pitchFamily="34" charset="0"/>
              </a:rPr>
            </a:br>
            <a:r>
              <a:rPr lang="ro" sz="1400">
                <a:latin typeface="Arial" panose="020B0604020202020204" pitchFamily="34" charset="0"/>
                <a:cs typeface="Arial" panose="020B0604020202020204" pitchFamily="34" charset="0"/>
                <a:hlinkClick r:id="rId7"/>
              </a:rPr>
              <a:t>www.tesa.com</a:t>
            </a:r>
            <a:endParaRPr lang="en-US" sz="1400">
              <a:latin typeface="Arial" panose="020B0604020202020204" pitchFamily="34" charset="0"/>
              <a:cs typeface="Arial" panose="020B0604020202020204" pitchFamily="34" charset="0"/>
            </a:endParaRPr>
          </a:p>
        </p:txBody>
      </p:sp>
      <p:sp>
        <p:nvSpPr>
          <p:cNvPr id="47" name="Rechteck 46">
            <a:extLst>
              <a:ext uri="{FF2B5EF4-FFF2-40B4-BE49-F238E27FC236}">
                <a16:creationId xmlns:a16="http://schemas.microsoft.com/office/drawing/2014/main" id="{46A62BB1-0DA7-4E41-9F7A-6C2CFE54250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48" name="Rechteck 47">
            <a:extLst>
              <a:ext uri="{FF2B5EF4-FFF2-40B4-BE49-F238E27FC236}">
                <a16:creationId xmlns:a16="http://schemas.microsoft.com/office/drawing/2014/main" id="{F21BA462-2946-4163-B2CE-B44C8E5721B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4" name="AutoShape 4">
            <a:extLst>
              <a:ext uri="{FF2B5EF4-FFF2-40B4-BE49-F238E27FC236}">
                <a16:creationId xmlns:a16="http://schemas.microsoft.com/office/drawing/2014/main" id="{510C1027-9FFF-4D5E-B4B5-42C2FFFB5EA3}"/>
              </a:ext>
            </a:extLst>
          </p:cNvPr>
          <p:cNvSpPr>
            <a:spLocks noChangeAspect="1" noChangeArrowheads="1" noTextEdit="1"/>
          </p:cNvSpPr>
          <p:nvPr/>
        </p:nvSpPr>
        <p:spPr bwMode="auto">
          <a:xfrm>
            <a:off x="10253602" y="1306536"/>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17" name="AutoShape 3">
            <a:extLst>
              <a:ext uri="{FF2B5EF4-FFF2-40B4-BE49-F238E27FC236}">
                <a16:creationId xmlns:a16="http://schemas.microsoft.com/office/drawing/2014/main" id="{91A1A5E5-EC1A-45F6-A5A8-A9F67657C572}"/>
              </a:ext>
            </a:extLst>
          </p:cNvPr>
          <p:cNvSpPr>
            <a:spLocks noChangeAspect="1" noChangeArrowheads="1" noTextEdit="1"/>
          </p:cNvSpPr>
          <p:nvPr userDrawn="1"/>
        </p:nvSpPr>
        <p:spPr bwMode="auto">
          <a:xfrm>
            <a:off x="10193037" y="585222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8" name="Freeform 5">
            <a:hlinkClick r:id="rId8"/>
            <a:extLst>
              <a:ext uri="{FF2B5EF4-FFF2-40B4-BE49-F238E27FC236}">
                <a16:creationId xmlns:a16="http://schemas.microsoft.com/office/drawing/2014/main" id="{545FF3AD-8009-4359-83DC-1E76A94A17EE}"/>
              </a:ext>
            </a:extLst>
          </p:cNvPr>
          <p:cNvSpPr>
            <a:spLocks noEditPoints="1"/>
          </p:cNvSpPr>
          <p:nvPr userDrawn="1"/>
        </p:nvSpPr>
        <p:spPr bwMode="auto">
          <a:xfrm>
            <a:off x="10193037" y="5852228"/>
            <a:ext cx="304800" cy="304800"/>
          </a:xfrm>
          <a:custGeom>
            <a:avLst/>
            <a:gdLst>
              <a:gd name="T0" fmla="*/ 373 w 667"/>
              <a:gd name="T1" fmla="*/ 523 h 667"/>
              <a:gd name="T2" fmla="*/ 297 w 667"/>
              <a:gd name="T3" fmla="*/ 485 h 667"/>
              <a:gd name="T4" fmla="*/ 276 w 667"/>
              <a:gd name="T5" fmla="*/ 564 h 667"/>
              <a:gd name="T6" fmla="*/ 235 w 667"/>
              <a:gd name="T7" fmla="*/ 652 h 667"/>
              <a:gd name="T8" fmla="*/ 212 w 667"/>
              <a:gd name="T9" fmla="*/ 644 h 667"/>
              <a:gd name="T10" fmla="*/ 213 w 667"/>
              <a:gd name="T11" fmla="*/ 548 h 667"/>
              <a:gd name="T12" fmla="*/ 252 w 667"/>
              <a:gd name="T13" fmla="*/ 382 h 667"/>
              <a:gd name="T14" fmla="*/ 242 w 667"/>
              <a:gd name="T15" fmla="*/ 333 h 667"/>
              <a:gd name="T16" fmla="*/ 302 w 667"/>
              <a:gd name="T17" fmla="*/ 252 h 667"/>
              <a:gd name="T18" fmla="*/ 344 w 667"/>
              <a:gd name="T19" fmla="*/ 299 h 667"/>
              <a:gd name="T20" fmla="*/ 317 w 667"/>
              <a:gd name="T21" fmla="*/ 410 h 667"/>
              <a:gd name="T22" fmla="*/ 366 w 667"/>
              <a:gd name="T23" fmla="*/ 470 h 667"/>
              <a:gd name="T24" fmla="*/ 471 w 667"/>
              <a:gd name="T25" fmla="*/ 318 h 667"/>
              <a:gd name="T26" fmla="*/ 332 w 667"/>
              <a:gd name="T27" fmla="*/ 182 h 667"/>
              <a:gd name="T28" fmla="*/ 181 w 667"/>
              <a:gd name="T29" fmla="*/ 327 h 667"/>
              <a:gd name="T30" fmla="*/ 206 w 667"/>
              <a:gd name="T31" fmla="*/ 403 h 667"/>
              <a:gd name="T32" fmla="*/ 209 w 667"/>
              <a:gd name="T33" fmla="*/ 412 h 667"/>
              <a:gd name="T34" fmla="*/ 199 w 667"/>
              <a:gd name="T35" fmla="*/ 450 h 667"/>
              <a:gd name="T36" fmla="*/ 188 w 667"/>
              <a:gd name="T37" fmla="*/ 454 h 667"/>
              <a:gd name="T38" fmla="*/ 120 w 667"/>
              <a:gd name="T39" fmla="*/ 325 h 667"/>
              <a:gd name="T40" fmla="*/ 341 w 667"/>
              <a:gd name="T41" fmla="*/ 124 h 667"/>
              <a:gd name="T42" fmla="*/ 546 w 667"/>
              <a:gd name="T43" fmla="*/ 316 h 667"/>
              <a:gd name="T44" fmla="*/ 373 w 667"/>
              <a:gd name="T45" fmla="*/ 523 h 667"/>
              <a:gd name="T46" fmla="*/ 630 w 667"/>
              <a:gd name="T47" fmla="*/ 37 h 667"/>
              <a:gd name="T48" fmla="*/ 542 w 667"/>
              <a:gd name="T49" fmla="*/ 0 h 667"/>
              <a:gd name="T50" fmla="*/ 125 w 667"/>
              <a:gd name="T51" fmla="*/ 0 h 667"/>
              <a:gd name="T52" fmla="*/ 37 w 667"/>
              <a:gd name="T53" fmla="*/ 37 h 667"/>
              <a:gd name="T54" fmla="*/ 0 w 667"/>
              <a:gd name="T55" fmla="*/ 125 h 667"/>
              <a:gd name="T56" fmla="*/ 0 w 667"/>
              <a:gd name="T57" fmla="*/ 542 h 667"/>
              <a:gd name="T58" fmla="*/ 37 w 667"/>
              <a:gd name="T59" fmla="*/ 630 h 667"/>
              <a:gd name="T60" fmla="*/ 125 w 667"/>
              <a:gd name="T61" fmla="*/ 667 h 667"/>
              <a:gd name="T62" fmla="*/ 542 w 667"/>
              <a:gd name="T63" fmla="*/ 667 h 667"/>
              <a:gd name="T64" fmla="*/ 630 w 667"/>
              <a:gd name="T65" fmla="*/ 630 h 667"/>
              <a:gd name="T66" fmla="*/ 667 w 667"/>
              <a:gd name="T67" fmla="*/ 542 h 667"/>
              <a:gd name="T68" fmla="*/ 667 w 667"/>
              <a:gd name="T69" fmla="*/ 125 h 667"/>
              <a:gd name="T70" fmla="*/ 630 w 667"/>
              <a:gd name="T71" fmla="*/ 3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7" h="667">
                <a:moveTo>
                  <a:pt x="373" y="523"/>
                </a:moveTo>
                <a:cubicBezTo>
                  <a:pt x="340" y="523"/>
                  <a:pt x="308" y="506"/>
                  <a:pt x="297" y="485"/>
                </a:cubicBezTo>
                <a:cubicBezTo>
                  <a:pt x="297" y="485"/>
                  <a:pt x="280" y="549"/>
                  <a:pt x="276" y="564"/>
                </a:cubicBezTo>
                <a:cubicBezTo>
                  <a:pt x="268" y="593"/>
                  <a:pt x="248" y="630"/>
                  <a:pt x="235" y="652"/>
                </a:cubicBezTo>
                <a:cubicBezTo>
                  <a:pt x="212" y="644"/>
                  <a:pt x="212" y="644"/>
                  <a:pt x="212" y="644"/>
                </a:cubicBezTo>
                <a:cubicBezTo>
                  <a:pt x="209" y="617"/>
                  <a:pt x="206" y="577"/>
                  <a:pt x="213" y="548"/>
                </a:cubicBezTo>
                <a:cubicBezTo>
                  <a:pt x="219" y="522"/>
                  <a:pt x="252" y="382"/>
                  <a:pt x="252" y="382"/>
                </a:cubicBezTo>
                <a:cubicBezTo>
                  <a:pt x="252" y="382"/>
                  <a:pt x="242" y="362"/>
                  <a:pt x="242" y="333"/>
                </a:cubicBezTo>
                <a:cubicBezTo>
                  <a:pt x="242" y="287"/>
                  <a:pt x="269" y="252"/>
                  <a:pt x="302" y="252"/>
                </a:cubicBezTo>
                <a:cubicBezTo>
                  <a:pt x="331" y="252"/>
                  <a:pt x="344" y="273"/>
                  <a:pt x="344" y="299"/>
                </a:cubicBezTo>
                <a:cubicBezTo>
                  <a:pt x="344" y="328"/>
                  <a:pt x="326" y="370"/>
                  <a:pt x="317" y="410"/>
                </a:cubicBezTo>
                <a:cubicBezTo>
                  <a:pt x="309" y="443"/>
                  <a:pt x="334" y="470"/>
                  <a:pt x="366" y="470"/>
                </a:cubicBezTo>
                <a:cubicBezTo>
                  <a:pt x="425" y="470"/>
                  <a:pt x="471" y="408"/>
                  <a:pt x="471" y="318"/>
                </a:cubicBezTo>
                <a:cubicBezTo>
                  <a:pt x="471" y="238"/>
                  <a:pt x="414" y="182"/>
                  <a:pt x="332" y="182"/>
                </a:cubicBezTo>
                <a:cubicBezTo>
                  <a:pt x="237" y="182"/>
                  <a:pt x="181" y="253"/>
                  <a:pt x="181" y="327"/>
                </a:cubicBezTo>
                <a:cubicBezTo>
                  <a:pt x="181" y="355"/>
                  <a:pt x="192" y="386"/>
                  <a:pt x="206" y="403"/>
                </a:cubicBezTo>
                <a:cubicBezTo>
                  <a:pt x="209" y="406"/>
                  <a:pt x="209" y="409"/>
                  <a:pt x="209" y="412"/>
                </a:cubicBezTo>
                <a:cubicBezTo>
                  <a:pt x="206" y="423"/>
                  <a:pt x="200" y="445"/>
                  <a:pt x="199" y="450"/>
                </a:cubicBezTo>
                <a:cubicBezTo>
                  <a:pt x="198" y="456"/>
                  <a:pt x="194" y="457"/>
                  <a:pt x="188" y="454"/>
                </a:cubicBezTo>
                <a:cubicBezTo>
                  <a:pt x="146" y="435"/>
                  <a:pt x="120" y="374"/>
                  <a:pt x="120" y="325"/>
                </a:cubicBezTo>
                <a:cubicBezTo>
                  <a:pt x="121" y="220"/>
                  <a:pt x="197" y="124"/>
                  <a:pt x="341" y="124"/>
                </a:cubicBezTo>
                <a:cubicBezTo>
                  <a:pt x="456" y="124"/>
                  <a:pt x="546" y="206"/>
                  <a:pt x="546" y="316"/>
                </a:cubicBezTo>
                <a:cubicBezTo>
                  <a:pt x="546" y="431"/>
                  <a:pt x="474" y="523"/>
                  <a:pt x="373" y="523"/>
                </a:cubicBezTo>
                <a:close/>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21" name="Freeform 9">
            <a:hlinkClick r:id="rId9"/>
            <a:extLst>
              <a:ext uri="{FF2B5EF4-FFF2-40B4-BE49-F238E27FC236}">
                <a16:creationId xmlns:a16="http://schemas.microsoft.com/office/drawing/2014/main" id="{D964BAE0-D6AB-4F9F-B324-BB2D471E9FFC}"/>
              </a:ext>
            </a:extLst>
          </p:cNvPr>
          <p:cNvSpPr>
            <a:spLocks/>
          </p:cNvSpPr>
          <p:nvPr userDrawn="1"/>
        </p:nvSpPr>
        <p:spPr bwMode="auto">
          <a:xfrm>
            <a:off x="9695589" y="5852228"/>
            <a:ext cx="303576" cy="304800"/>
          </a:xfrm>
          <a:custGeom>
            <a:avLst/>
            <a:gdLst>
              <a:gd name="T0" fmla="*/ 630 w 667"/>
              <a:gd name="T1" fmla="*/ 37 h 667"/>
              <a:gd name="T2" fmla="*/ 542 w 667"/>
              <a:gd name="T3" fmla="*/ 0 h 667"/>
              <a:gd name="T4" fmla="*/ 125 w 667"/>
              <a:gd name="T5" fmla="*/ 0 h 667"/>
              <a:gd name="T6" fmla="*/ 37 w 667"/>
              <a:gd name="T7" fmla="*/ 37 h 667"/>
              <a:gd name="T8" fmla="*/ 0 w 667"/>
              <a:gd name="T9" fmla="*/ 125 h 667"/>
              <a:gd name="T10" fmla="*/ 0 w 667"/>
              <a:gd name="T11" fmla="*/ 542 h 667"/>
              <a:gd name="T12" fmla="*/ 37 w 667"/>
              <a:gd name="T13" fmla="*/ 630 h 667"/>
              <a:gd name="T14" fmla="*/ 125 w 667"/>
              <a:gd name="T15" fmla="*/ 667 h 667"/>
              <a:gd name="T16" fmla="*/ 333 w 667"/>
              <a:gd name="T17" fmla="*/ 667 h 667"/>
              <a:gd name="T18" fmla="*/ 333 w 667"/>
              <a:gd name="T19" fmla="*/ 375 h 667"/>
              <a:gd name="T20" fmla="*/ 250 w 667"/>
              <a:gd name="T21" fmla="*/ 375 h 667"/>
              <a:gd name="T22" fmla="*/ 250 w 667"/>
              <a:gd name="T23" fmla="*/ 292 h 667"/>
              <a:gd name="T24" fmla="*/ 333 w 667"/>
              <a:gd name="T25" fmla="*/ 292 h 667"/>
              <a:gd name="T26" fmla="*/ 333 w 667"/>
              <a:gd name="T27" fmla="*/ 229 h 667"/>
              <a:gd name="T28" fmla="*/ 438 w 667"/>
              <a:gd name="T29" fmla="*/ 125 h 667"/>
              <a:gd name="T30" fmla="*/ 542 w 667"/>
              <a:gd name="T31" fmla="*/ 125 h 667"/>
              <a:gd name="T32" fmla="*/ 542 w 667"/>
              <a:gd name="T33" fmla="*/ 208 h 667"/>
              <a:gd name="T34" fmla="*/ 438 w 667"/>
              <a:gd name="T35" fmla="*/ 208 h 667"/>
              <a:gd name="T36" fmla="*/ 417 w 667"/>
              <a:gd name="T37" fmla="*/ 229 h 667"/>
              <a:gd name="T38" fmla="*/ 417 w 667"/>
              <a:gd name="T39" fmla="*/ 292 h 667"/>
              <a:gd name="T40" fmla="*/ 531 w 667"/>
              <a:gd name="T41" fmla="*/ 292 h 667"/>
              <a:gd name="T42" fmla="*/ 510 w 667"/>
              <a:gd name="T43" fmla="*/ 375 h 667"/>
              <a:gd name="T44" fmla="*/ 417 w 667"/>
              <a:gd name="T45" fmla="*/ 375 h 667"/>
              <a:gd name="T46" fmla="*/ 417 w 667"/>
              <a:gd name="T47" fmla="*/ 667 h 667"/>
              <a:gd name="T48" fmla="*/ 542 w 667"/>
              <a:gd name="T49" fmla="*/ 667 h 667"/>
              <a:gd name="T50" fmla="*/ 630 w 667"/>
              <a:gd name="T51" fmla="*/ 630 h 667"/>
              <a:gd name="T52" fmla="*/ 667 w 667"/>
              <a:gd name="T53" fmla="*/ 542 h 667"/>
              <a:gd name="T54" fmla="*/ 667 w 667"/>
              <a:gd name="T55" fmla="*/ 125 h 667"/>
              <a:gd name="T56" fmla="*/ 630 w 667"/>
              <a:gd name="T57" fmla="*/ 3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7" h="667">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333" y="667"/>
                  <a:pt x="333" y="667"/>
                  <a:pt x="333" y="667"/>
                </a:cubicBezTo>
                <a:cubicBezTo>
                  <a:pt x="333" y="375"/>
                  <a:pt x="333" y="375"/>
                  <a:pt x="333" y="375"/>
                </a:cubicBezTo>
                <a:cubicBezTo>
                  <a:pt x="250" y="375"/>
                  <a:pt x="250" y="375"/>
                  <a:pt x="250" y="375"/>
                </a:cubicBezTo>
                <a:cubicBezTo>
                  <a:pt x="250" y="292"/>
                  <a:pt x="250" y="292"/>
                  <a:pt x="250" y="292"/>
                </a:cubicBezTo>
                <a:cubicBezTo>
                  <a:pt x="333" y="292"/>
                  <a:pt x="333" y="292"/>
                  <a:pt x="333" y="292"/>
                </a:cubicBezTo>
                <a:cubicBezTo>
                  <a:pt x="333" y="229"/>
                  <a:pt x="333" y="229"/>
                  <a:pt x="333" y="229"/>
                </a:cubicBezTo>
                <a:cubicBezTo>
                  <a:pt x="333" y="172"/>
                  <a:pt x="380" y="125"/>
                  <a:pt x="438" y="125"/>
                </a:cubicBezTo>
                <a:cubicBezTo>
                  <a:pt x="542" y="125"/>
                  <a:pt x="542" y="125"/>
                  <a:pt x="542" y="125"/>
                </a:cubicBezTo>
                <a:cubicBezTo>
                  <a:pt x="542" y="208"/>
                  <a:pt x="542" y="208"/>
                  <a:pt x="542" y="208"/>
                </a:cubicBezTo>
                <a:cubicBezTo>
                  <a:pt x="438" y="208"/>
                  <a:pt x="438" y="208"/>
                  <a:pt x="438" y="208"/>
                </a:cubicBezTo>
                <a:cubicBezTo>
                  <a:pt x="426" y="208"/>
                  <a:pt x="417" y="218"/>
                  <a:pt x="417" y="229"/>
                </a:cubicBezTo>
                <a:cubicBezTo>
                  <a:pt x="417" y="292"/>
                  <a:pt x="417" y="292"/>
                  <a:pt x="417" y="292"/>
                </a:cubicBezTo>
                <a:cubicBezTo>
                  <a:pt x="531" y="292"/>
                  <a:pt x="531" y="292"/>
                  <a:pt x="531" y="292"/>
                </a:cubicBezTo>
                <a:cubicBezTo>
                  <a:pt x="510" y="375"/>
                  <a:pt x="510" y="375"/>
                  <a:pt x="510" y="375"/>
                </a:cubicBezTo>
                <a:cubicBezTo>
                  <a:pt x="417" y="375"/>
                  <a:pt x="417" y="375"/>
                  <a:pt x="417" y="375"/>
                </a:cubicBezTo>
                <a:cubicBezTo>
                  <a:pt x="417" y="667"/>
                  <a:pt x="417" y="667"/>
                  <a:pt x="417"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24" name="Freeform 13">
            <a:hlinkClick r:id="rId10"/>
            <a:extLst>
              <a:ext uri="{FF2B5EF4-FFF2-40B4-BE49-F238E27FC236}">
                <a16:creationId xmlns:a16="http://schemas.microsoft.com/office/drawing/2014/main" id="{518D9D38-8FBA-43E8-A70A-6AC1E1C971CE}"/>
              </a:ext>
            </a:extLst>
          </p:cNvPr>
          <p:cNvSpPr>
            <a:spLocks noEditPoints="1"/>
          </p:cNvSpPr>
          <p:nvPr userDrawn="1"/>
        </p:nvSpPr>
        <p:spPr bwMode="auto">
          <a:xfrm>
            <a:off x="9196918" y="5852228"/>
            <a:ext cx="304800" cy="304800"/>
          </a:xfrm>
          <a:custGeom>
            <a:avLst/>
            <a:gdLst>
              <a:gd name="T0" fmla="*/ 499 w 667"/>
              <a:gd name="T1" fmla="*/ 248 h 667"/>
              <a:gd name="T2" fmla="*/ 499 w 667"/>
              <a:gd name="T3" fmla="*/ 259 h 667"/>
              <a:gd name="T4" fmla="*/ 256 w 667"/>
              <a:gd name="T5" fmla="*/ 503 h 667"/>
              <a:gd name="T6" fmla="*/ 125 w 667"/>
              <a:gd name="T7" fmla="*/ 464 h 667"/>
              <a:gd name="T8" fmla="*/ 145 w 667"/>
              <a:gd name="T9" fmla="*/ 465 h 667"/>
              <a:gd name="T10" fmla="*/ 252 w 667"/>
              <a:gd name="T11" fmla="*/ 429 h 667"/>
              <a:gd name="T12" fmla="*/ 172 w 667"/>
              <a:gd name="T13" fmla="*/ 369 h 667"/>
              <a:gd name="T14" fmla="*/ 188 w 667"/>
              <a:gd name="T15" fmla="*/ 371 h 667"/>
              <a:gd name="T16" fmla="*/ 210 w 667"/>
              <a:gd name="T17" fmla="*/ 368 h 667"/>
              <a:gd name="T18" fmla="*/ 142 w 667"/>
              <a:gd name="T19" fmla="*/ 284 h 667"/>
              <a:gd name="T20" fmla="*/ 142 w 667"/>
              <a:gd name="T21" fmla="*/ 283 h 667"/>
              <a:gd name="T22" fmla="*/ 180 w 667"/>
              <a:gd name="T23" fmla="*/ 294 h 667"/>
              <a:gd name="T24" fmla="*/ 142 w 667"/>
              <a:gd name="T25" fmla="*/ 223 h 667"/>
              <a:gd name="T26" fmla="*/ 154 w 667"/>
              <a:gd name="T27" fmla="*/ 180 h 667"/>
              <a:gd name="T28" fmla="*/ 330 w 667"/>
              <a:gd name="T29" fmla="*/ 269 h 667"/>
              <a:gd name="T30" fmla="*/ 328 w 667"/>
              <a:gd name="T31" fmla="*/ 249 h 667"/>
              <a:gd name="T32" fmla="*/ 413 w 667"/>
              <a:gd name="T33" fmla="*/ 164 h 667"/>
              <a:gd name="T34" fmla="*/ 476 w 667"/>
              <a:gd name="T35" fmla="*/ 191 h 667"/>
              <a:gd name="T36" fmla="*/ 530 w 667"/>
              <a:gd name="T37" fmla="*/ 170 h 667"/>
              <a:gd name="T38" fmla="*/ 492 w 667"/>
              <a:gd name="T39" fmla="*/ 218 h 667"/>
              <a:gd name="T40" fmla="*/ 542 w 667"/>
              <a:gd name="T41" fmla="*/ 204 h 667"/>
              <a:gd name="T42" fmla="*/ 499 w 667"/>
              <a:gd name="T43" fmla="*/ 248 h 667"/>
              <a:gd name="T44" fmla="*/ 630 w 667"/>
              <a:gd name="T45" fmla="*/ 37 h 667"/>
              <a:gd name="T46" fmla="*/ 542 w 667"/>
              <a:gd name="T47" fmla="*/ 0 h 667"/>
              <a:gd name="T48" fmla="*/ 125 w 667"/>
              <a:gd name="T49" fmla="*/ 0 h 667"/>
              <a:gd name="T50" fmla="*/ 37 w 667"/>
              <a:gd name="T51" fmla="*/ 37 h 667"/>
              <a:gd name="T52" fmla="*/ 0 w 667"/>
              <a:gd name="T53" fmla="*/ 125 h 667"/>
              <a:gd name="T54" fmla="*/ 0 w 667"/>
              <a:gd name="T55" fmla="*/ 542 h 667"/>
              <a:gd name="T56" fmla="*/ 37 w 667"/>
              <a:gd name="T57" fmla="*/ 630 h 667"/>
              <a:gd name="T58" fmla="*/ 125 w 667"/>
              <a:gd name="T59" fmla="*/ 667 h 667"/>
              <a:gd name="T60" fmla="*/ 542 w 667"/>
              <a:gd name="T61" fmla="*/ 667 h 667"/>
              <a:gd name="T62" fmla="*/ 630 w 667"/>
              <a:gd name="T63" fmla="*/ 630 h 667"/>
              <a:gd name="T64" fmla="*/ 667 w 667"/>
              <a:gd name="T65" fmla="*/ 542 h 667"/>
              <a:gd name="T66" fmla="*/ 667 w 667"/>
              <a:gd name="T67" fmla="*/ 125 h 667"/>
              <a:gd name="T68" fmla="*/ 630 w 667"/>
              <a:gd name="T69" fmla="*/ 3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7" h="667">
                <a:moveTo>
                  <a:pt x="499" y="248"/>
                </a:moveTo>
                <a:cubicBezTo>
                  <a:pt x="499" y="252"/>
                  <a:pt x="499" y="256"/>
                  <a:pt x="499" y="259"/>
                </a:cubicBezTo>
                <a:cubicBezTo>
                  <a:pt x="499" y="372"/>
                  <a:pt x="413" y="503"/>
                  <a:pt x="256" y="503"/>
                </a:cubicBezTo>
                <a:cubicBezTo>
                  <a:pt x="208" y="503"/>
                  <a:pt x="163" y="488"/>
                  <a:pt x="125" y="464"/>
                </a:cubicBezTo>
                <a:cubicBezTo>
                  <a:pt x="132" y="465"/>
                  <a:pt x="139" y="465"/>
                  <a:pt x="145" y="465"/>
                </a:cubicBezTo>
                <a:cubicBezTo>
                  <a:pt x="186" y="465"/>
                  <a:pt x="222" y="452"/>
                  <a:pt x="252" y="429"/>
                </a:cubicBezTo>
                <a:cubicBezTo>
                  <a:pt x="214" y="428"/>
                  <a:pt x="183" y="403"/>
                  <a:pt x="172" y="369"/>
                </a:cubicBezTo>
                <a:cubicBezTo>
                  <a:pt x="177" y="370"/>
                  <a:pt x="182" y="371"/>
                  <a:pt x="188" y="371"/>
                </a:cubicBezTo>
                <a:cubicBezTo>
                  <a:pt x="196" y="371"/>
                  <a:pt x="203" y="370"/>
                  <a:pt x="210" y="368"/>
                </a:cubicBezTo>
                <a:cubicBezTo>
                  <a:pt x="171" y="360"/>
                  <a:pt x="142" y="326"/>
                  <a:pt x="142" y="284"/>
                </a:cubicBezTo>
                <a:cubicBezTo>
                  <a:pt x="142" y="283"/>
                  <a:pt x="142" y="283"/>
                  <a:pt x="142" y="283"/>
                </a:cubicBezTo>
                <a:cubicBezTo>
                  <a:pt x="153" y="289"/>
                  <a:pt x="167" y="293"/>
                  <a:pt x="180" y="294"/>
                </a:cubicBezTo>
                <a:cubicBezTo>
                  <a:pt x="158" y="278"/>
                  <a:pt x="142" y="252"/>
                  <a:pt x="142" y="223"/>
                </a:cubicBezTo>
                <a:cubicBezTo>
                  <a:pt x="142" y="207"/>
                  <a:pt x="147" y="192"/>
                  <a:pt x="154" y="180"/>
                </a:cubicBezTo>
                <a:cubicBezTo>
                  <a:pt x="196" y="231"/>
                  <a:pt x="259" y="265"/>
                  <a:pt x="330" y="269"/>
                </a:cubicBezTo>
                <a:cubicBezTo>
                  <a:pt x="329" y="263"/>
                  <a:pt x="328" y="256"/>
                  <a:pt x="328" y="249"/>
                </a:cubicBezTo>
                <a:cubicBezTo>
                  <a:pt x="328" y="202"/>
                  <a:pt x="366" y="164"/>
                  <a:pt x="413" y="164"/>
                </a:cubicBezTo>
                <a:cubicBezTo>
                  <a:pt x="438" y="164"/>
                  <a:pt x="460" y="174"/>
                  <a:pt x="476" y="191"/>
                </a:cubicBezTo>
                <a:cubicBezTo>
                  <a:pt x="495" y="187"/>
                  <a:pt x="514" y="180"/>
                  <a:pt x="530" y="170"/>
                </a:cubicBezTo>
                <a:cubicBezTo>
                  <a:pt x="524" y="190"/>
                  <a:pt x="510" y="207"/>
                  <a:pt x="492" y="218"/>
                </a:cubicBezTo>
                <a:cubicBezTo>
                  <a:pt x="510" y="215"/>
                  <a:pt x="526" y="211"/>
                  <a:pt x="542" y="204"/>
                </a:cubicBezTo>
                <a:cubicBezTo>
                  <a:pt x="530" y="221"/>
                  <a:pt x="516" y="236"/>
                  <a:pt x="499" y="248"/>
                </a:cubicBezTo>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34" name="Freeform 17">
            <a:hlinkClick r:id="rId11"/>
            <a:extLst>
              <a:ext uri="{FF2B5EF4-FFF2-40B4-BE49-F238E27FC236}">
                <a16:creationId xmlns:a16="http://schemas.microsoft.com/office/drawing/2014/main" id="{2E4892AB-337D-4B9C-ADBA-F7E0A3D06593}"/>
              </a:ext>
            </a:extLst>
          </p:cNvPr>
          <p:cNvSpPr>
            <a:spLocks noEditPoints="1"/>
          </p:cNvSpPr>
          <p:nvPr userDrawn="1"/>
        </p:nvSpPr>
        <p:spPr bwMode="auto">
          <a:xfrm>
            <a:off x="8699471" y="5852228"/>
            <a:ext cx="303576" cy="304800"/>
          </a:xfrm>
          <a:custGeom>
            <a:avLst/>
            <a:gdLst>
              <a:gd name="T0" fmla="*/ 341 w 667"/>
              <a:gd name="T1" fmla="*/ 211 h 667"/>
              <a:gd name="T2" fmla="*/ 313 w 667"/>
              <a:gd name="T3" fmla="*/ 143 h 667"/>
              <a:gd name="T4" fmla="*/ 172 w 667"/>
              <a:gd name="T5" fmla="*/ 41 h 667"/>
              <a:gd name="T6" fmla="*/ 192 w 667"/>
              <a:gd name="T7" fmla="*/ 101 h 667"/>
              <a:gd name="T8" fmla="*/ 244 w 667"/>
              <a:gd name="T9" fmla="*/ 257 h 667"/>
              <a:gd name="T10" fmla="*/ 251 w 667"/>
              <a:gd name="T11" fmla="*/ 41 h 667"/>
              <a:gd name="T12" fmla="*/ 423 w 667"/>
              <a:gd name="T13" fmla="*/ 96 h 667"/>
              <a:gd name="T14" fmla="*/ 396 w 667"/>
              <a:gd name="T15" fmla="*/ 247 h 667"/>
              <a:gd name="T16" fmla="*/ 448 w 667"/>
              <a:gd name="T17" fmla="*/ 257 h 667"/>
              <a:gd name="T18" fmla="*/ 448 w 667"/>
              <a:gd name="T19" fmla="*/ 96 h 667"/>
              <a:gd name="T20" fmla="*/ 423 w 667"/>
              <a:gd name="T21" fmla="*/ 226 h 667"/>
              <a:gd name="T22" fmla="*/ 327 w 667"/>
              <a:gd name="T23" fmla="*/ 94 h 667"/>
              <a:gd name="T24" fmla="*/ 284 w 667"/>
              <a:gd name="T25" fmla="*/ 205 h 667"/>
              <a:gd name="T26" fmla="*/ 361 w 667"/>
              <a:gd name="T27" fmla="*/ 243 h 667"/>
              <a:gd name="T28" fmla="*/ 361 w 667"/>
              <a:gd name="T29" fmla="*/ 111 h 667"/>
              <a:gd name="T30" fmla="*/ 479 w 667"/>
              <a:gd name="T31" fmla="*/ 442 h 667"/>
              <a:gd name="T32" fmla="*/ 507 w 667"/>
              <a:gd name="T33" fmla="*/ 442 h 667"/>
              <a:gd name="T34" fmla="*/ 372 w 667"/>
              <a:gd name="T35" fmla="*/ 427 h 667"/>
              <a:gd name="T36" fmla="*/ 399 w 667"/>
              <a:gd name="T37" fmla="*/ 510 h 667"/>
              <a:gd name="T38" fmla="*/ 231 w 667"/>
              <a:gd name="T39" fmla="*/ 342 h 667"/>
              <a:gd name="T40" fmla="*/ 196 w 667"/>
              <a:gd name="T41" fmla="*/ 556 h 667"/>
              <a:gd name="T42" fmla="*/ 130 w 667"/>
              <a:gd name="T43" fmla="*/ 372 h 667"/>
              <a:gd name="T44" fmla="*/ 372 w 667"/>
              <a:gd name="T45" fmla="*/ 342 h 667"/>
              <a:gd name="T46" fmla="*/ 424 w 667"/>
              <a:gd name="T47" fmla="*/ 412 h 667"/>
              <a:gd name="T48" fmla="*/ 424 w 667"/>
              <a:gd name="T49" fmla="*/ 539 h 667"/>
              <a:gd name="T50" fmla="*/ 372 w 667"/>
              <a:gd name="T51" fmla="*/ 555 h 667"/>
              <a:gd name="T52" fmla="*/ 372 w 667"/>
              <a:gd name="T53" fmla="*/ 342 h 667"/>
              <a:gd name="T54" fmla="*/ 264 w 667"/>
              <a:gd name="T55" fmla="*/ 525 h 667"/>
              <a:gd name="T56" fmla="*/ 289 w 667"/>
              <a:gd name="T57" fmla="*/ 396 h 667"/>
              <a:gd name="T58" fmla="*/ 289 w 667"/>
              <a:gd name="T59" fmla="*/ 555 h 667"/>
              <a:gd name="T60" fmla="*/ 238 w 667"/>
              <a:gd name="T61" fmla="*/ 546 h 667"/>
              <a:gd name="T62" fmla="*/ 264 w 667"/>
              <a:gd name="T63" fmla="*/ 396 h 667"/>
              <a:gd name="T64" fmla="*/ 536 w 667"/>
              <a:gd name="T65" fmla="*/ 448 h 667"/>
              <a:gd name="T66" fmla="*/ 479 w 667"/>
              <a:gd name="T67" fmla="*/ 509 h 667"/>
              <a:gd name="T68" fmla="*/ 507 w 667"/>
              <a:gd name="T69" fmla="*/ 517 h 667"/>
              <a:gd name="T70" fmla="*/ 536 w 667"/>
              <a:gd name="T71" fmla="*/ 501 h 667"/>
              <a:gd name="T72" fmla="*/ 529 w 667"/>
              <a:gd name="T73" fmla="*/ 540 h 667"/>
              <a:gd name="T74" fmla="*/ 450 w 667"/>
              <a:gd name="T75" fmla="*/ 504 h 667"/>
              <a:gd name="T76" fmla="*/ 493 w 667"/>
              <a:gd name="T77" fmla="*/ 394 h 667"/>
              <a:gd name="T78" fmla="*/ 122 w 667"/>
              <a:gd name="T79" fmla="*/ 307 h 667"/>
              <a:gd name="T80" fmla="*/ 103 w 667"/>
              <a:gd name="T81" fmla="*/ 565 h 667"/>
              <a:gd name="T82" fmla="*/ 333 w 667"/>
              <a:gd name="T83" fmla="*/ 618 h 667"/>
              <a:gd name="T84" fmla="*/ 563 w 667"/>
              <a:gd name="T85" fmla="*/ 565 h 667"/>
              <a:gd name="T86" fmla="*/ 545 w 667"/>
              <a:gd name="T87" fmla="*/ 307 h 667"/>
              <a:gd name="T88" fmla="*/ 542 w 667"/>
              <a:gd name="T89" fmla="*/ 0 h 667"/>
              <a:gd name="T90" fmla="*/ 667 w 667"/>
              <a:gd name="T91" fmla="*/ 542 h 667"/>
              <a:gd name="T92" fmla="*/ 125 w 667"/>
              <a:gd name="T93" fmla="*/ 667 h 667"/>
              <a:gd name="T94" fmla="*/ 0 w 667"/>
              <a:gd name="T95" fmla="*/ 125 h 667"/>
              <a:gd name="T96" fmla="*/ 542 w 667"/>
              <a:gd name="T9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7" h="667">
                <a:moveTo>
                  <a:pt x="327" y="120"/>
                </a:moveTo>
                <a:cubicBezTo>
                  <a:pt x="336" y="120"/>
                  <a:pt x="341" y="128"/>
                  <a:pt x="341" y="143"/>
                </a:cubicBezTo>
                <a:cubicBezTo>
                  <a:pt x="341" y="211"/>
                  <a:pt x="341" y="211"/>
                  <a:pt x="341" y="211"/>
                </a:cubicBezTo>
                <a:cubicBezTo>
                  <a:pt x="341" y="225"/>
                  <a:pt x="336" y="233"/>
                  <a:pt x="327" y="233"/>
                </a:cubicBezTo>
                <a:cubicBezTo>
                  <a:pt x="318" y="233"/>
                  <a:pt x="313" y="225"/>
                  <a:pt x="313" y="211"/>
                </a:cubicBezTo>
                <a:cubicBezTo>
                  <a:pt x="313" y="143"/>
                  <a:pt x="313" y="143"/>
                  <a:pt x="313" y="143"/>
                </a:cubicBezTo>
                <a:cubicBezTo>
                  <a:pt x="313" y="128"/>
                  <a:pt x="318" y="120"/>
                  <a:pt x="327" y="120"/>
                </a:cubicBezTo>
                <a:close/>
                <a:moveTo>
                  <a:pt x="206" y="41"/>
                </a:moveTo>
                <a:cubicBezTo>
                  <a:pt x="172" y="41"/>
                  <a:pt x="172" y="41"/>
                  <a:pt x="172" y="41"/>
                </a:cubicBezTo>
                <a:cubicBezTo>
                  <a:pt x="182" y="71"/>
                  <a:pt x="182" y="71"/>
                  <a:pt x="182" y="71"/>
                </a:cubicBezTo>
                <a:cubicBezTo>
                  <a:pt x="182" y="71"/>
                  <a:pt x="185" y="78"/>
                  <a:pt x="189" y="93"/>
                </a:cubicBezTo>
                <a:cubicBezTo>
                  <a:pt x="192" y="101"/>
                  <a:pt x="192" y="101"/>
                  <a:pt x="192" y="101"/>
                </a:cubicBezTo>
                <a:cubicBezTo>
                  <a:pt x="202" y="131"/>
                  <a:pt x="209" y="154"/>
                  <a:pt x="212" y="170"/>
                </a:cubicBezTo>
                <a:cubicBezTo>
                  <a:pt x="212" y="257"/>
                  <a:pt x="212" y="257"/>
                  <a:pt x="212" y="257"/>
                </a:cubicBezTo>
                <a:cubicBezTo>
                  <a:pt x="244" y="257"/>
                  <a:pt x="244" y="257"/>
                  <a:pt x="244" y="257"/>
                </a:cubicBezTo>
                <a:cubicBezTo>
                  <a:pt x="244" y="170"/>
                  <a:pt x="244" y="170"/>
                  <a:pt x="244" y="170"/>
                </a:cubicBezTo>
                <a:cubicBezTo>
                  <a:pt x="283" y="41"/>
                  <a:pt x="283" y="41"/>
                  <a:pt x="283" y="41"/>
                </a:cubicBezTo>
                <a:cubicBezTo>
                  <a:pt x="251" y="41"/>
                  <a:pt x="251" y="41"/>
                  <a:pt x="251" y="41"/>
                </a:cubicBezTo>
                <a:cubicBezTo>
                  <a:pt x="229" y="126"/>
                  <a:pt x="229" y="126"/>
                  <a:pt x="229" y="126"/>
                </a:cubicBezTo>
                <a:lnTo>
                  <a:pt x="206" y="41"/>
                </a:lnTo>
                <a:close/>
                <a:moveTo>
                  <a:pt x="423" y="96"/>
                </a:moveTo>
                <a:cubicBezTo>
                  <a:pt x="393" y="96"/>
                  <a:pt x="393" y="96"/>
                  <a:pt x="393" y="96"/>
                </a:cubicBezTo>
                <a:cubicBezTo>
                  <a:pt x="393" y="224"/>
                  <a:pt x="393" y="224"/>
                  <a:pt x="393" y="224"/>
                </a:cubicBezTo>
                <a:cubicBezTo>
                  <a:pt x="393" y="234"/>
                  <a:pt x="394" y="242"/>
                  <a:pt x="396" y="247"/>
                </a:cubicBezTo>
                <a:cubicBezTo>
                  <a:pt x="399" y="255"/>
                  <a:pt x="405" y="259"/>
                  <a:pt x="415" y="259"/>
                </a:cubicBezTo>
                <a:cubicBezTo>
                  <a:pt x="425" y="259"/>
                  <a:pt x="436" y="253"/>
                  <a:pt x="448" y="240"/>
                </a:cubicBezTo>
                <a:cubicBezTo>
                  <a:pt x="448" y="257"/>
                  <a:pt x="448" y="257"/>
                  <a:pt x="448" y="257"/>
                </a:cubicBezTo>
                <a:cubicBezTo>
                  <a:pt x="477" y="257"/>
                  <a:pt x="477" y="257"/>
                  <a:pt x="477" y="257"/>
                </a:cubicBezTo>
                <a:cubicBezTo>
                  <a:pt x="477" y="96"/>
                  <a:pt x="477" y="96"/>
                  <a:pt x="477" y="96"/>
                </a:cubicBezTo>
                <a:cubicBezTo>
                  <a:pt x="448" y="96"/>
                  <a:pt x="448" y="96"/>
                  <a:pt x="448" y="96"/>
                </a:cubicBezTo>
                <a:cubicBezTo>
                  <a:pt x="448" y="219"/>
                  <a:pt x="448" y="219"/>
                  <a:pt x="448" y="219"/>
                </a:cubicBezTo>
                <a:cubicBezTo>
                  <a:pt x="442" y="228"/>
                  <a:pt x="436" y="233"/>
                  <a:pt x="430" y="233"/>
                </a:cubicBezTo>
                <a:cubicBezTo>
                  <a:pt x="426" y="233"/>
                  <a:pt x="423" y="230"/>
                  <a:pt x="423" y="226"/>
                </a:cubicBezTo>
                <a:cubicBezTo>
                  <a:pt x="423" y="225"/>
                  <a:pt x="423" y="221"/>
                  <a:pt x="423" y="214"/>
                </a:cubicBezTo>
                <a:lnTo>
                  <a:pt x="423" y="96"/>
                </a:lnTo>
                <a:close/>
                <a:moveTo>
                  <a:pt x="327" y="94"/>
                </a:moveTo>
                <a:cubicBezTo>
                  <a:pt x="312" y="94"/>
                  <a:pt x="301" y="100"/>
                  <a:pt x="293" y="111"/>
                </a:cubicBezTo>
                <a:cubicBezTo>
                  <a:pt x="287" y="119"/>
                  <a:pt x="284" y="132"/>
                  <a:pt x="284" y="148"/>
                </a:cubicBezTo>
                <a:cubicBezTo>
                  <a:pt x="284" y="205"/>
                  <a:pt x="284" y="205"/>
                  <a:pt x="284" y="205"/>
                </a:cubicBezTo>
                <a:cubicBezTo>
                  <a:pt x="284" y="222"/>
                  <a:pt x="287" y="234"/>
                  <a:pt x="293" y="243"/>
                </a:cubicBezTo>
                <a:cubicBezTo>
                  <a:pt x="301" y="254"/>
                  <a:pt x="312" y="259"/>
                  <a:pt x="327" y="259"/>
                </a:cubicBezTo>
                <a:cubicBezTo>
                  <a:pt x="341" y="259"/>
                  <a:pt x="352" y="254"/>
                  <a:pt x="361" y="243"/>
                </a:cubicBezTo>
                <a:cubicBezTo>
                  <a:pt x="367" y="235"/>
                  <a:pt x="370" y="222"/>
                  <a:pt x="370" y="205"/>
                </a:cubicBezTo>
                <a:cubicBezTo>
                  <a:pt x="370" y="148"/>
                  <a:pt x="370" y="148"/>
                  <a:pt x="370" y="148"/>
                </a:cubicBezTo>
                <a:cubicBezTo>
                  <a:pt x="370" y="132"/>
                  <a:pt x="367" y="119"/>
                  <a:pt x="361" y="111"/>
                </a:cubicBezTo>
                <a:cubicBezTo>
                  <a:pt x="352" y="100"/>
                  <a:pt x="341" y="94"/>
                  <a:pt x="327" y="94"/>
                </a:cubicBezTo>
                <a:close/>
                <a:moveTo>
                  <a:pt x="493" y="420"/>
                </a:moveTo>
                <a:cubicBezTo>
                  <a:pt x="484" y="420"/>
                  <a:pt x="479" y="428"/>
                  <a:pt x="479" y="442"/>
                </a:cubicBezTo>
                <a:cubicBezTo>
                  <a:pt x="479" y="457"/>
                  <a:pt x="479" y="457"/>
                  <a:pt x="479" y="457"/>
                </a:cubicBezTo>
                <a:cubicBezTo>
                  <a:pt x="507" y="457"/>
                  <a:pt x="507" y="457"/>
                  <a:pt x="507" y="457"/>
                </a:cubicBezTo>
                <a:cubicBezTo>
                  <a:pt x="507" y="442"/>
                  <a:pt x="507" y="442"/>
                  <a:pt x="507" y="442"/>
                </a:cubicBezTo>
                <a:cubicBezTo>
                  <a:pt x="507" y="428"/>
                  <a:pt x="503" y="420"/>
                  <a:pt x="493" y="420"/>
                </a:cubicBezTo>
                <a:close/>
                <a:moveTo>
                  <a:pt x="386" y="420"/>
                </a:moveTo>
                <a:cubicBezTo>
                  <a:pt x="381" y="420"/>
                  <a:pt x="377" y="422"/>
                  <a:pt x="372" y="427"/>
                </a:cubicBezTo>
                <a:cubicBezTo>
                  <a:pt x="372" y="524"/>
                  <a:pt x="372" y="524"/>
                  <a:pt x="372" y="524"/>
                </a:cubicBezTo>
                <a:cubicBezTo>
                  <a:pt x="377" y="529"/>
                  <a:pt x="381" y="531"/>
                  <a:pt x="386" y="531"/>
                </a:cubicBezTo>
                <a:cubicBezTo>
                  <a:pt x="395" y="531"/>
                  <a:pt x="399" y="524"/>
                  <a:pt x="399" y="510"/>
                </a:cubicBezTo>
                <a:cubicBezTo>
                  <a:pt x="399" y="442"/>
                  <a:pt x="399" y="442"/>
                  <a:pt x="399" y="442"/>
                </a:cubicBezTo>
                <a:cubicBezTo>
                  <a:pt x="399" y="427"/>
                  <a:pt x="395" y="420"/>
                  <a:pt x="386" y="420"/>
                </a:cubicBezTo>
                <a:close/>
                <a:moveTo>
                  <a:pt x="231" y="342"/>
                </a:moveTo>
                <a:cubicBezTo>
                  <a:pt x="231" y="372"/>
                  <a:pt x="231" y="372"/>
                  <a:pt x="231" y="372"/>
                </a:cubicBezTo>
                <a:cubicBezTo>
                  <a:pt x="196" y="372"/>
                  <a:pt x="196" y="372"/>
                  <a:pt x="196" y="372"/>
                </a:cubicBezTo>
                <a:cubicBezTo>
                  <a:pt x="196" y="556"/>
                  <a:pt x="196" y="556"/>
                  <a:pt x="196" y="556"/>
                </a:cubicBezTo>
                <a:cubicBezTo>
                  <a:pt x="164" y="556"/>
                  <a:pt x="164" y="556"/>
                  <a:pt x="164" y="556"/>
                </a:cubicBezTo>
                <a:cubicBezTo>
                  <a:pt x="164" y="372"/>
                  <a:pt x="164" y="372"/>
                  <a:pt x="164" y="372"/>
                </a:cubicBezTo>
                <a:cubicBezTo>
                  <a:pt x="130" y="372"/>
                  <a:pt x="130" y="372"/>
                  <a:pt x="130" y="372"/>
                </a:cubicBezTo>
                <a:cubicBezTo>
                  <a:pt x="130" y="342"/>
                  <a:pt x="130" y="342"/>
                  <a:pt x="130" y="342"/>
                </a:cubicBezTo>
                <a:lnTo>
                  <a:pt x="231" y="342"/>
                </a:lnTo>
                <a:close/>
                <a:moveTo>
                  <a:pt x="372" y="342"/>
                </a:moveTo>
                <a:cubicBezTo>
                  <a:pt x="372" y="411"/>
                  <a:pt x="372" y="411"/>
                  <a:pt x="372" y="411"/>
                </a:cubicBezTo>
                <a:cubicBezTo>
                  <a:pt x="381" y="400"/>
                  <a:pt x="391" y="394"/>
                  <a:pt x="401" y="394"/>
                </a:cubicBezTo>
                <a:cubicBezTo>
                  <a:pt x="413" y="394"/>
                  <a:pt x="421" y="400"/>
                  <a:pt x="424" y="412"/>
                </a:cubicBezTo>
                <a:cubicBezTo>
                  <a:pt x="426" y="418"/>
                  <a:pt x="427" y="429"/>
                  <a:pt x="427" y="444"/>
                </a:cubicBezTo>
                <a:cubicBezTo>
                  <a:pt x="427" y="508"/>
                  <a:pt x="427" y="508"/>
                  <a:pt x="427" y="508"/>
                </a:cubicBezTo>
                <a:cubicBezTo>
                  <a:pt x="427" y="523"/>
                  <a:pt x="427" y="533"/>
                  <a:pt x="424" y="539"/>
                </a:cubicBezTo>
                <a:cubicBezTo>
                  <a:pt x="421" y="552"/>
                  <a:pt x="413" y="558"/>
                  <a:pt x="401" y="558"/>
                </a:cubicBezTo>
                <a:cubicBezTo>
                  <a:pt x="391" y="558"/>
                  <a:pt x="381" y="552"/>
                  <a:pt x="372" y="540"/>
                </a:cubicBezTo>
                <a:cubicBezTo>
                  <a:pt x="372" y="555"/>
                  <a:pt x="372" y="555"/>
                  <a:pt x="372" y="555"/>
                </a:cubicBezTo>
                <a:cubicBezTo>
                  <a:pt x="343" y="555"/>
                  <a:pt x="343" y="555"/>
                  <a:pt x="343" y="555"/>
                </a:cubicBezTo>
                <a:cubicBezTo>
                  <a:pt x="343" y="342"/>
                  <a:pt x="343" y="342"/>
                  <a:pt x="343" y="342"/>
                </a:cubicBezTo>
                <a:lnTo>
                  <a:pt x="372" y="342"/>
                </a:lnTo>
                <a:close/>
                <a:moveTo>
                  <a:pt x="264" y="396"/>
                </a:moveTo>
                <a:cubicBezTo>
                  <a:pt x="264" y="516"/>
                  <a:pt x="264" y="516"/>
                  <a:pt x="264" y="516"/>
                </a:cubicBezTo>
                <a:cubicBezTo>
                  <a:pt x="264" y="521"/>
                  <a:pt x="264" y="524"/>
                  <a:pt x="264" y="525"/>
                </a:cubicBezTo>
                <a:cubicBezTo>
                  <a:pt x="265" y="529"/>
                  <a:pt x="267" y="531"/>
                  <a:pt x="271" y="531"/>
                </a:cubicBezTo>
                <a:cubicBezTo>
                  <a:pt x="277" y="531"/>
                  <a:pt x="283" y="527"/>
                  <a:pt x="289" y="518"/>
                </a:cubicBezTo>
                <a:cubicBezTo>
                  <a:pt x="289" y="396"/>
                  <a:pt x="289" y="396"/>
                  <a:pt x="289" y="396"/>
                </a:cubicBezTo>
                <a:cubicBezTo>
                  <a:pt x="318" y="396"/>
                  <a:pt x="318" y="396"/>
                  <a:pt x="318" y="396"/>
                </a:cubicBezTo>
                <a:cubicBezTo>
                  <a:pt x="318" y="555"/>
                  <a:pt x="318" y="555"/>
                  <a:pt x="318" y="555"/>
                </a:cubicBezTo>
                <a:cubicBezTo>
                  <a:pt x="289" y="555"/>
                  <a:pt x="289" y="555"/>
                  <a:pt x="289" y="555"/>
                </a:cubicBezTo>
                <a:cubicBezTo>
                  <a:pt x="289" y="538"/>
                  <a:pt x="289" y="538"/>
                  <a:pt x="289" y="538"/>
                </a:cubicBezTo>
                <a:cubicBezTo>
                  <a:pt x="278" y="551"/>
                  <a:pt x="267" y="558"/>
                  <a:pt x="256" y="558"/>
                </a:cubicBezTo>
                <a:cubicBezTo>
                  <a:pt x="247" y="558"/>
                  <a:pt x="240" y="554"/>
                  <a:pt x="238" y="546"/>
                </a:cubicBezTo>
                <a:cubicBezTo>
                  <a:pt x="236" y="541"/>
                  <a:pt x="235" y="533"/>
                  <a:pt x="235" y="522"/>
                </a:cubicBezTo>
                <a:cubicBezTo>
                  <a:pt x="235" y="396"/>
                  <a:pt x="235" y="396"/>
                  <a:pt x="235" y="396"/>
                </a:cubicBezTo>
                <a:lnTo>
                  <a:pt x="264" y="396"/>
                </a:lnTo>
                <a:close/>
                <a:moveTo>
                  <a:pt x="493" y="394"/>
                </a:moveTo>
                <a:cubicBezTo>
                  <a:pt x="508" y="394"/>
                  <a:pt x="520" y="400"/>
                  <a:pt x="527" y="411"/>
                </a:cubicBezTo>
                <a:cubicBezTo>
                  <a:pt x="533" y="419"/>
                  <a:pt x="536" y="431"/>
                  <a:pt x="536" y="448"/>
                </a:cubicBezTo>
                <a:cubicBezTo>
                  <a:pt x="536" y="481"/>
                  <a:pt x="536" y="481"/>
                  <a:pt x="536" y="481"/>
                </a:cubicBezTo>
                <a:cubicBezTo>
                  <a:pt x="479" y="481"/>
                  <a:pt x="479" y="481"/>
                  <a:pt x="479" y="481"/>
                </a:cubicBezTo>
                <a:cubicBezTo>
                  <a:pt x="479" y="509"/>
                  <a:pt x="479" y="509"/>
                  <a:pt x="479" y="509"/>
                </a:cubicBezTo>
                <a:cubicBezTo>
                  <a:pt x="479" y="524"/>
                  <a:pt x="483" y="531"/>
                  <a:pt x="493" y="531"/>
                </a:cubicBezTo>
                <a:cubicBezTo>
                  <a:pt x="500" y="531"/>
                  <a:pt x="505" y="527"/>
                  <a:pt x="506" y="520"/>
                </a:cubicBezTo>
                <a:cubicBezTo>
                  <a:pt x="506" y="520"/>
                  <a:pt x="507" y="519"/>
                  <a:pt x="507" y="517"/>
                </a:cubicBezTo>
                <a:cubicBezTo>
                  <a:pt x="507" y="515"/>
                  <a:pt x="507" y="513"/>
                  <a:pt x="507" y="510"/>
                </a:cubicBezTo>
                <a:cubicBezTo>
                  <a:pt x="507" y="501"/>
                  <a:pt x="507" y="501"/>
                  <a:pt x="507" y="501"/>
                </a:cubicBezTo>
                <a:cubicBezTo>
                  <a:pt x="536" y="501"/>
                  <a:pt x="536" y="501"/>
                  <a:pt x="536" y="501"/>
                </a:cubicBezTo>
                <a:cubicBezTo>
                  <a:pt x="536" y="505"/>
                  <a:pt x="536" y="505"/>
                  <a:pt x="536" y="505"/>
                </a:cubicBezTo>
                <a:cubicBezTo>
                  <a:pt x="536" y="513"/>
                  <a:pt x="536" y="519"/>
                  <a:pt x="536" y="523"/>
                </a:cubicBezTo>
                <a:cubicBezTo>
                  <a:pt x="535" y="530"/>
                  <a:pt x="533" y="535"/>
                  <a:pt x="529" y="540"/>
                </a:cubicBezTo>
                <a:cubicBezTo>
                  <a:pt x="521" y="552"/>
                  <a:pt x="510" y="558"/>
                  <a:pt x="494" y="558"/>
                </a:cubicBezTo>
                <a:cubicBezTo>
                  <a:pt x="479" y="558"/>
                  <a:pt x="467" y="552"/>
                  <a:pt x="459" y="541"/>
                </a:cubicBezTo>
                <a:cubicBezTo>
                  <a:pt x="453" y="533"/>
                  <a:pt x="450" y="521"/>
                  <a:pt x="450" y="504"/>
                </a:cubicBezTo>
                <a:cubicBezTo>
                  <a:pt x="450" y="448"/>
                  <a:pt x="450" y="448"/>
                  <a:pt x="450" y="448"/>
                </a:cubicBezTo>
                <a:cubicBezTo>
                  <a:pt x="450" y="431"/>
                  <a:pt x="453" y="418"/>
                  <a:pt x="459" y="411"/>
                </a:cubicBezTo>
                <a:cubicBezTo>
                  <a:pt x="467" y="399"/>
                  <a:pt x="479" y="394"/>
                  <a:pt x="493" y="394"/>
                </a:cubicBezTo>
                <a:close/>
                <a:moveTo>
                  <a:pt x="333" y="286"/>
                </a:moveTo>
                <a:cubicBezTo>
                  <a:pt x="254" y="286"/>
                  <a:pt x="194" y="288"/>
                  <a:pt x="155" y="292"/>
                </a:cubicBezTo>
                <a:cubicBezTo>
                  <a:pt x="142" y="294"/>
                  <a:pt x="131" y="299"/>
                  <a:pt x="122" y="307"/>
                </a:cubicBezTo>
                <a:cubicBezTo>
                  <a:pt x="112" y="316"/>
                  <a:pt x="106" y="327"/>
                  <a:pt x="103" y="339"/>
                </a:cubicBezTo>
                <a:cubicBezTo>
                  <a:pt x="97" y="365"/>
                  <a:pt x="95" y="402"/>
                  <a:pt x="95" y="452"/>
                </a:cubicBezTo>
                <a:cubicBezTo>
                  <a:pt x="95" y="503"/>
                  <a:pt x="98" y="541"/>
                  <a:pt x="103" y="565"/>
                </a:cubicBezTo>
                <a:cubicBezTo>
                  <a:pt x="106" y="577"/>
                  <a:pt x="112" y="588"/>
                  <a:pt x="122" y="597"/>
                </a:cubicBezTo>
                <a:cubicBezTo>
                  <a:pt x="131" y="605"/>
                  <a:pt x="142" y="611"/>
                  <a:pt x="155" y="612"/>
                </a:cubicBezTo>
                <a:cubicBezTo>
                  <a:pt x="194" y="616"/>
                  <a:pt x="254" y="618"/>
                  <a:pt x="333" y="618"/>
                </a:cubicBezTo>
                <a:cubicBezTo>
                  <a:pt x="413" y="618"/>
                  <a:pt x="473" y="616"/>
                  <a:pt x="512" y="612"/>
                </a:cubicBezTo>
                <a:cubicBezTo>
                  <a:pt x="525" y="611"/>
                  <a:pt x="536" y="605"/>
                  <a:pt x="545" y="597"/>
                </a:cubicBezTo>
                <a:cubicBezTo>
                  <a:pt x="554" y="588"/>
                  <a:pt x="561" y="578"/>
                  <a:pt x="563" y="565"/>
                </a:cubicBezTo>
                <a:cubicBezTo>
                  <a:pt x="569" y="541"/>
                  <a:pt x="572" y="503"/>
                  <a:pt x="572" y="452"/>
                </a:cubicBezTo>
                <a:cubicBezTo>
                  <a:pt x="572" y="401"/>
                  <a:pt x="569" y="363"/>
                  <a:pt x="564" y="339"/>
                </a:cubicBezTo>
                <a:cubicBezTo>
                  <a:pt x="561" y="327"/>
                  <a:pt x="555" y="316"/>
                  <a:pt x="545" y="307"/>
                </a:cubicBezTo>
                <a:cubicBezTo>
                  <a:pt x="536" y="299"/>
                  <a:pt x="525" y="294"/>
                  <a:pt x="512" y="292"/>
                </a:cubicBezTo>
                <a:cubicBezTo>
                  <a:pt x="473" y="288"/>
                  <a:pt x="413" y="286"/>
                  <a:pt x="333" y="286"/>
                </a:cubicBezTo>
                <a:close/>
                <a:moveTo>
                  <a:pt x="542" y="0"/>
                </a:moveTo>
                <a:cubicBezTo>
                  <a:pt x="576" y="0"/>
                  <a:pt x="606" y="12"/>
                  <a:pt x="630" y="37"/>
                </a:cubicBezTo>
                <a:cubicBezTo>
                  <a:pt x="654" y="61"/>
                  <a:pt x="667" y="91"/>
                  <a:pt x="667" y="125"/>
                </a:cubicBezTo>
                <a:cubicBezTo>
                  <a:pt x="667" y="542"/>
                  <a:pt x="667" y="542"/>
                  <a:pt x="667" y="542"/>
                </a:cubicBezTo>
                <a:cubicBezTo>
                  <a:pt x="667" y="576"/>
                  <a:pt x="654" y="605"/>
                  <a:pt x="630" y="630"/>
                </a:cubicBezTo>
                <a:cubicBezTo>
                  <a:pt x="606" y="654"/>
                  <a:pt x="576" y="667"/>
                  <a:pt x="542" y="667"/>
                </a:cubicBezTo>
                <a:cubicBezTo>
                  <a:pt x="125" y="667"/>
                  <a:pt x="125" y="667"/>
                  <a:pt x="125" y="667"/>
                </a:cubicBezTo>
                <a:cubicBezTo>
                  <a:pt x="91" y="667"/>
                  <a:pt x="61" y="654"/>
                  <a:pt x="37" y="630"/>
                </a:cubicBezTo>
                <a:cubicBezTo>
                  <a:pt x="12" y="606"/>
                  <a:pt x="0" y="576"/>
                  <a:pt x="0" y="542"/>
                </a:cubicBezTo>
                <a:cubicBezTo>
                  <a:pt x="0" y="125"/>
                  <a:pt x="0" y="125"/>
                  <a:pt x="0" y="125"/>
                </a:cubicBezTo>
                <a:cubicBezTo>
                  <a:pt x="0" y="91"/>
                  <a:pt x="12" y="61"/>
                  <a:pt x="37" y="37"/>
                </a:cubicBezTo>
                <a:cubicBezTo>
                  <a:pt x="61" y="12"/>
                  <a:pt x="91" y="0"/>
                  <a:pt x="125" y="0"/>
                </a:cubicBezTo>
                <a:lnTo>
                  <a:pt x="542" y="0"/>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51" name="Freeform 21">
            <a:hlinkClick r:id="rId12"/>
            <a:extLst>
              <a:ext uri="{FF2B5EF4-FFF2-40B4-BE49-F238E27FC236}">
                <a16:creationId xmlns:a16="http://schemas.microsoft.com/office/drawing/2014/main" id="{3BAD8605-8820-4291-B5D2-5014FFE6CF1C}"/>
              </a:ext>
            </a:extLst>
          </p:cNvPr>
          <p:cNvSpPr>
            <a:spLocks noEditPoints="1"/>
          </p:cNvSpPr>
          <p:nvPr userDrawn="1"/>
        </p:nvSpPr>
        <p:spPr bwMode="auto">
          <a:xfrm>
            <a:off x="8200799" y="5852228"/>
            <a:ext cx="304800" cy="304800"/>
          </a:xfrm>
          <a:custGeom>
            <a:avLst/>
            <a:gdLst>
              <a:gd name="T0" fmla="*/ 630 w 667"/>
              <a:gd name="T1" fmla="*/ 37 h 667"/>
              <a:gd name="T2" fmla="*/ 542 w 667"/>
              <a:gd name="T3" fmla="*/ 0 h 667"/>
              <a:gd name="T4" fmla="*/ 125 w 667"/>
              <a:gd name="T5" fmla="*/ 0 h 667"/>
              <a:gd name="T6" fmla="*/ 37 w 667"/>
              <a:gd name="T7" fmla="*/ 37 h 667"/>
              <a:gd name="T8" fmla="*/ 0 w 667"/>
              <a:gd name="T9" fmla="*/ 125 h 667"/>
              <a:gd name="T10" fmla="*/ 0 w 667"/>
              <a:gd name="T11" fmla="*/ 542 h 667"/>
              <a:gd name="T12" fmla="*/ 37 w 667"/>
              <a:gd name="T13" fmla="*/ 630 h 667"/>
              <a:gd name="T14" fmla="*/ 125 w 667"/>
              <a:gd name="T15" fmla="*/ 667 h 667"/>
              <a:gd name="T16" fmla="*/ 542 w 667"/>
              <a:gd name="T17" fmla="*/ 667 h 667"/>
              <a:gd name="T18" fmla="*/ 630 w 667"/>
              <a:gd name="T19" fmla="*/ 630 h 667"/>
              <a:gd name="T20" fmla="*/ 667 w 667"/>
              <a:gd name="T21" fmla="*/ 542 h 667"/>
              <a:gd name="T22" fmla="*/ 667 w 667"/>
              <a:gd name="T23" fmla="*/ 125 h 667"/>
              <a:gd name="T24" fmla="*/ 630 w 667"/>
              <a:gd name="T25" fmla="*/ 37 h 667"/>
              <a:gd name="T26" fmla="*/ 103 w 667"/>
              <a:gd name="T27" fmla="*/ 558 h 667"/>
              <a:gd name="T28" fmla="*/ 203 w 667"/>
              <a:gd name="T29" fmla="*/ 558 h 667"/>
              <a:gd name="T30" fmla="*/ 203 w 667"/>
              <a:gd name="T31" fmla="*/ 257 h 667"/>
              <a:gd name="T32" fmla="*/ 103 w 667"/>
              <a:gd name="T33" fmla="*/ 257 h 667"/>
              <a:gd name="T34" fmla="*/ 103 w 667"/>
              <a:gd name="T35" fmla="*/ 558 h 667"/>
              <a:gd name="T36" fmla="*/ 194 w 667"/>
              <a:gd name="T37" fmla="*/ 201 h 667"/>
              <a:gd name="T38" fmla="*/ 153 w 667"/>
              <a:gd name="T39" fmla="*/ 216 h 667"/>
              <a:gd name="T40" fmla="*/ 152 w 667"/>
              <a:gd name="T41" fmla="*/ 216 h 667"/>
              <a:gd name="T42" fmla="*/ 112 w 667"/>
              <a:gd name="T43" fmla="*/ 201 h 667"/>
              <a:gd name="T44" fmla="*/ 97 w 667"/>
              <a:gd name="T45" fmla="*/ 164 h 667"/>
              <a:gd name="T46" fmla="*/ 113 w 667"/>
              <a:gd name="T47" fmla="*/ 127 h 667"/>
              <a:gd name="T48" fmla="*/ 154 w 667"/>
              <a:gd name="T49" fmla="*/ 112 h 667"/>
              <a:gd name="T50" fmla="*/ 194 w 667"/>
              <a:gd name="T51" fmla="*/ 127 h 667"/>
              <a:gd name="T52" fmla="*/ 210 w 667"/>
              <a:gd name="T53" fmla="*/ 164 h 667"/>
              <a:gd name="T54" fmla="*/ 194 w 667"/>
              <a:gd name="T55" fmla="*/ 201 h 667"/>
              <a:gd name="T56" fmla="*/ 564 w 667"/>
              <a:gd name="T57" fmla="*/ 558 h 667"/>
              <a:gd name="T58" fmla="*/ 464 w 667"/>
              <a:gd name="T59" fmla="*/ 558 h 667"/>
              <a:gd name="T60" fmla="*/ 464 w 667"/>
              <a:gd name="T61" fmla="*/ 397 h 667"/>
              <a:gd name="T62" fmla="*/ 413 w 667"/>
              <a:gd name="T63" fmla="*/ 329 h 667"/>
              <a:gd name="T64" fmla="*/ 381 w 667"/>
              <a:gd name="T65" fmla="*/ 340 h 667"/>
              <a:gd name="T66" fmla="*/ 361 w 667"/>
              <a:gd name="T67" fmla="*/ 365 h 667"/>
              <a:gd name="T68" fmla="*/ 358 w 667"/>
              <a:gd name="T69" fmla="*/ 390 h 667"/>
              <a:gd name="T70" fmla="*/ 358 w 667"/>
              <a:gd name="T71" fmla="*/ 558 h 667"/>
              <a:gd name="T72" fmla="*/ 258 w 667"/>
              <a:gd name="T73" fmla="*/ 558 h 667"/>
              <a:gd name="T74" fmla="*/ 258 w 667"/>
              <a:gd name="T75" fmla="*/ 257 h 667"/>
              <a:gd name="T76" fmla="*/ 358 w 667"/>
              <a:gd name="T77" fmla="*/ 257 h 667"/>
              <a:gd name="T78" fmla="*/ 358 w 667"/>
              <a:gd name="T79" fmla="*/ 299 h 667"/>
              <a:gd name="T80" fmla="*/ 448 w 667"/>
              <a:gd name="T81" fmla="*/ 250 h 667"/>
              <a:gd name="T82" fmla="*/ 532 w 667"/>
              <a:gd name="T83" fmla="*/ 284 h 667"/>
              <a:gd name="T84" fmla="*/ 564 w 667"/>
              <a:gd name="T85" fmla="*/ 385 h 667"/>
              <a:gd name="T86" fmla="*/ 564 w 667"/>
              <a:gd name="T87" fmla="*/ 558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7" h="667">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moveTo>
                  <a:pt x="103" y="558"/>
                </a:moveTo>
                <a:cubicBezTo>
                  <a:pt x="203" y="558"/>
                  <a:pt x="203" y="558"/>
                  <a:pt x="203" y="558"/>
                </a:cubicBezTo>
                <a:cubicBezTo>
                  <a:pt x="203" y="257"/>
                  <a:pt x="203" y="257"/>
                  <a:pt x="203" y="257"/>
                </a:cubicBezTo>
                <a:cubicBezTo>
                  <a:pt x="103" y="257"/>
                  <a:pt x="103" y="257"/>
                  <a:pt x="103" y="257"/>
                </a:cubicBezTo>
                <a:lnTo>
                  <a:pt x="103" y="558"/>
                </a:lnTo>
                <a:close/>
                <a:moveTo>
                  <a:pt x="194" y="201"/>
                </a:moveTo>
                <a:cubicBezTo>
                  <a:pt x="184" y="211"/>
                  <a:pt x="170" y="216"/>
                  <a:pt x="153" y="216"/>
                </a:cubicBezTo>
                <a:cubicBezTo>
                  <a:pt x="152" y="216"/>
                  <a:pt x="152" y="216"/>
                  <a:pt x="152" y="216"/>
                </a:cubicBezTo>
                <a:cubicBezTo>
                  <a:pt x="136" y="216"/>
                  <a:pt x="123" y="211"/>
                  <a:pt x="112" y="201"/>
                </a:cubicBezTo>
                <a:cubicBezTo>
                  <a:pt x="102" y="191"/>
                  <a:pt x="97" y="179"/>
                  <a:pt x="97" y="164"/>
                </a:cubicBezTo>
                <a:cubicBezTo>
                  <a:pt x="97" y="149"/>
                  <a:pt x="102" y="137"/>
                  <a:pt x="113" y="127"/>
                </a:cubicBezTo>
                <a:cubicBezTo>
                  <a:pt x="123" y="117"/>
                  <a:pt x="137" y="112"/>
                  <a:pt x="154" y="112"/>
                </a:cubicBezTo>
                <a:cubicBezTo>
                  <a:pt x="170" y="112"/>
                  <a:pt x="184" y="117"/>
                  <a:pt x="194" y="127"/>
                </a:cubicBezTo>
                <a:cubicBezTo>
                  <a:pt x="204" y="136"/>
                  <a:pt x="209" y="149"/>
                  <a:pt x="210" y="164"/>
                </a:cubicBezTo>
                <a:cubicBezTo>
                  <a:pt x="210" y="179"/>
                  <a:pt x="204" y="191"/>
                  <a:pt x="194" y="201"/>
                </a:cubicBezTo>
                <a:close/>
                <a:moveTo>
                  <a:pt x="564" y="558"/>
                </a:moveTo>
                <a:cubicBezTo>
                  <a:pt x="464" y="558"/>
                  <a:pt x="464" y="558"/>
                  <a:pt x="464" y="558"/>
                </a:cubicBezTo>
                <a:cubicBezTo>
                  <a:pt x="464" y="397"/>
                  <a:pt x="464" y="397"/>
                  <a:pt x="464" y="397"/>
                </a:cubicBezTo>
                <a:cubicBezTo>
                  <a:pt x="464" y="352"/>
                  <a:pt x="447" y="329"/>
                  <a:pt x="413" y="329"/>
                </a:cubicBezTo>
                <a:cubicBezTo>
                  <a:pt x="400" y="329"/>
                  <a:pt x="390" y="333"/>
                  <a:pt x="381" y="340"/>
                </a:cubicBezTo>
                <a:cubicBezTo>
                  <a:pt x="372" y="347"/>
                  <a:pt x="366" y="355"/>
                  <a:pt x="361" y="365"/>
                </a:cubicBezTo>
                <a:cubicBezTo>
                  <a:pt x="359" y="371"/>
                  <a:pt x="358" y="379"/>
                  <a:pt x="358" y="390"/>
                </a:cubicBezTo>
                <a:cubicBezTo>
                  <a:pt x="358" y="558"/>
                  <a:pt x="358" y="558"/>
                  <a:pt x="358" y="558"/>
                </a:cubicBezTo>
                <a:cubicBezTo>
                  <a:pt x="258" y="558"/>
                  <a:pt x="258" y="558"/>
                  <a:pt x="258" y="558"/>
                </a:cubicBezTo>
                <a:cubicBezTo>
                  <a:pt x="259" y="376"/>
                  <a:pt x="259" y="276"/>
                  <a:pt x="258" y="257"/>
                </a:cubicBezTo>
                <a:cubicBezTo>
                  <a:pt x="358" y="257"/>
                  <a:pt x="358" y="257"/>
                  <a:pt x="358" y="257"/>
                </a:cubicBezTo>
                <a:cubicBezTo>
                  <a:pt x="358" y="299"/>
                  <a:pt x="358" y="299"/>
                  <a:pt x="358" y="299"/>
                </a:cubicBezTo>
                <a:cubicBezTo>
                  <a:pt x="380" y="267"/>
                  <a:pt x="410" y="250"/>
                  <a:pt x="448" y="250"/>
                </a:cubicBezTo>
                <a:cubicBezTo>
                  <a:pt x="483" y="250"/>
                  <a:pt x="511" y="261"/>
                  <a:pt x="532" y="284"/>
                </a:cubicBezTo>
                <a:cubicBezTo>
                  <a:pt x="553" y="307"/>
                  <a:pt x="564" y="341"/>
                  <a:pt x="564" y="385"/>
                </a:cubicBezTo>
                <a:lnTo>
                  <a:pt x="564" y="558"/>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Tree>
    <p:custDataLst>
      <p:tags r:id="rId2"/>
    </p:custDataLst>
    <p:extLst>
      <p:ext uri="{BB962C8B-B14F-4D97-AF65-F5344CB8AC3E}">
        <p14:creationId xmlns:p14="http://schemas.microsoft.com/office/powerpoint/2010/main" val="2346628972"/>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ank you China">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95123694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735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8" name="Bildplatzhalter 67">
            <a:extLst>
              <a:ext uri="{FF2B5EF4-FFF2-40B4-BE49-F238E27FC236}">
                <a16:creationId xmlns:a16="http://schemas.microsoft.com/office/drawing/2014/main" id="{96B1D410-3F2D-42FA-B47A-3D9E7AAA025F}"/>
              </a:ext>
            </a:extLst>
          </p:cNvPr>
          <p:cNvSpPr>
            <a:spLocks noGrp="1"/>
          </p:cNvSpPr>
          <p:nvPr>
            <p:ph type="pic" sz="quarter" idx="16" hasCustomPrompt="1"/>
          </p:nvPr>
        </p:nvSpPr>
        <p:spPr>
          <a:xfrm>
            <a:off x="0" y="0"/>
            <a:ext cx="12198350" cy="4030663"/>
          </a:xfrm>
          <a:custGeom>
            <a:avLst/>
            <a:gdLst>
              <a:gd name="connsiteX0" fmla="*/ 10215479 w 12198350"/>
              <a:gd name="connsiteY0" fmla="*/ 263197 h 4030663"/>
              <a:gd name="connsiteX1" fmla="*/ 10215479 w 12198350"/>
              <a:gd name="connsiteY1" fmla="*/ 792687 h 4030663"/>
              <a:gd name="connsiteX2" fmla="*/ 11933140 w 12198350"/>
              <a:gd name="connsiteY2" fmla="*/ 792687 h 4030663"/>
              <a:gd name="connsiteX3" fmla="*/ 11933140 w 12198350"/>
              <a:gd name="connsiteY3" fmla="*/ 263197 h 4030663"/>
              <a:gd name="connsiteX4" fmla="*/ 0 w 12198350"/>
              <a:gd name="connsiteY4" fmla="*/ 0 h 4030663"/>
              <a:gd name="connsiteX5" fmla="*/ 12198350 w 12198350"/>
              <a:gd name="connsiteY5" fmla="*/ 0 h 4030663"/>
              <a:gd name="connsiteX6" fmla="*/ 12198350 w 12198350"/>
              <a:gd name="connsiteY6" fmla="*/ 4030663 h 4030663"/>
              <a:gd name="connsiteX7" fmla="*/ 8191500 w 12198350"/>
              <a:gd name="connsiteY7" fmla="*/ 4030663 h 4030663"/>
              <a:gd name="connsiteX8" fmla="*/ 8191500 w 12198350"/>
              <a:gd name="connsiteY8" fmla="*/ 3671000 h 4030663"/>
              <a:gd name="connsiteX9" fmla="*/ 0 w 12198350"/>
              <a:gd name="connsiteY9" fmla="*/ 3671000 h 40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4030663">
                <a:moveTo>
                  <a:pt x="10215479" y="263197"/>
                </a:moveTo>
                <a:lnTo>
                  <a:pt x="10215479" y="792687"/>
                </a:lnTo>
                <a:lnTo>
                  <a:pt x="11933140" y="792687"/>
                </a:lnTo>
                <a:lnTo>
                  <a:pt x="11933140" y="263197"/>
                </a:lnTo>
                <a:close/>
                <a:moveTo>
                  <a:pt x="0" y="0"/>
                </a:moveTo>
                <a:lnTo>
                  <a:pt x="12198350" y="0"/>
                </a:lnTo>
                <a:lnTo>
                  <a:pt x="12198350" y="4030663"/>
                </a:lnTo>
                <a:lnTo>
                  <a:pt x="8191500" y="4030663"/>
                </a:lnTo>
                <a:lnTo>
                  <a:pt x="8191500" y="3671000"/>
                </a:lnTo>
                <a:lnTo>
                  <a:pt x="0" y="3671000"/>
                </a:lnTo>
                <a:close/>
              </a:path>
            </a:pathLst>
          </a:custGeom>
          <a:solidFill>
            <a:schemeClr val="bg2"/>
          </a:solidFill>
        </p:spPr>
        <p:txBody>
          <a:bodyPr wrap="square" rtlCol="0" anchor="ctr">
            <a:noAutofit/>
          </a:bodyPr>
          <a:lstStyle>
            <a:lvl1pPr marL="0" indent="0" algn="ctr" rtl="0">
              <a:buNone/>
              <a:defRPr b="0"/>
            </a:lvl1pPr>
          </a:lstStyle>
          <a:p>
            <a:pPr rtl="0"/>
            <a:r>
              <a:rPr lang="ro" noProof="0"/>
              <a:t>Please insert an image</a:t>
            </a:r>
            <a:br>
              <a:rPr lang="en-GB" noProof="0"/>
            </a:br>
            <a:br>
              <a:rPr lang="en-GB" noProof="0"/>
            </a:br>
            <a:br>
              <a:rPr lang="en-GB" noProof="0"/>
            </a:br>
            <a:endParaRPr lang="en-GB"/>
          </a:p>
        </p:txBody>
      </p:sp>
      <p:sp>
        <p:nvSpPr>
          <p:cNvPr id="4" name="Textplatzhalter 3"/>
          <p:cNvSpPr>
            <a:spLocks noGrp="1"/>
          </p:cNvSpPr>
          <p:nvPr>
            <p:ph type="body" sz="quarter" idx="10" hasCustomPrompt="1"/>
          </p:nvPr>
        </p:nvSpPr>
        <p:spPr>
          <a:xfrm>
            <a:off x="519113" y="3927884"/>
            <a:ext cx="5693569" cy="553998"/>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lvl="0" rtl="0"/>
            <a:r>
              <a:rPr lang="ro" noProof="0"/>
              <a:t>Thank you for your attention!</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52" name="Textplatzhalter 3">
            <a:extLst>
              <a:ext uri="{FF2B5EF4-FFF2-40B4-BE49-F238E27FC236}">
                <a16:creationId xmlns:a16="http://schemas.microsoft.com/office/drawing/2014/main" id="{62607DD7-FD68-423F-8CAD-9C36FF1605D4}"/>
              </a:ext>
            </a:extLst>
          </p:cNvPr>
          <p:cNvSpPr>
            <a:spLocks noGrp="1"/>
          </p:cNvSpPr>
          <p:nvPr userDrawn="1">
            <p:ph type="body" sz="quarter" idx="15" hasCustomPrompt="1"/>
          </p:nvPr>
        </p:nvSpPr>
        <p:spPr>
          <a:xfrm>
            <a:off x="519113" y="4616862"/>
            <a:ext cx="5693569" cy="215444"/>
          </a:xfrm>
          <a:noFill/>
        </p:spPr>
        <p:txBody>
          <a:bodyPr wrap="square" lIns="0" tIns="0" rIns="0" bIns="0" rtlCol="0" anchor="t">
            <a:spAutoFit/>
          </a:bodyPr>
          <a:lstStyle>
            <a:lvl1pPr marL="0" indent="0" rtl="0">
              <a:buNone/>
              <a:defRPr sz="1400" b="0" cap="none" baseline="0">
                <a:solidFill>
                  <a:schemeClr val="tx1"/>
                </a:solidFill>
                <a:latin typeface="+mn-lt"/>
              </a:defRPr>
            </a:lvl1pPr>
          </a:lstStyle>
          <a:p>
            <a:pPr lvl="0" rtl="0"/>
            <a:r>
              <a:rPr lang="ro" noProof="0"/>
              <a:t>Name</a:t>
            </a:r>
          </a:p>
        </p:txBody>
      </p:sp>
      <p:sp>
        <p:nvSpPr>
          <p:cNvPr id="47" name="Rechteck 46">
            <a:extLst>
              <a:ext uri="{FF2B5EF4-FFF2-40B4-BE49-F238E27FC236}">
                <a16:creationId xmlns:a16="http://schemas.microsoft.com/office/drawing/2014/main" id="{46A62BB1-0DA7-4E41-9F7A-6C2CFE54250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8" name="Rechteck 47">
            <a:extLst>
              <a:ext uri="{FF2B5EF4-FFF2-40B4-BE49-F238E27FC236}">
                <a16:creationId xmlns:a16="http://schemas.microsoft.com/office/drawing/2014/main" id="{F21BA462-2946-4163-B2CE-B44C8E5721B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4" name="AutoShape 4">
            <a:extLst>
              <a:ext uri="{FF2B5EF4-FFF2-40B4-BE49-F238E27FC236}">
                <a16:creationId xmlns:a16="http://schemas.microsoft.com/office/drawing/2014/main" id="{510C1027-9FFF-4D5E-B4B5-42C2FFFB5EA3}"/>
              </a:ext>
            </a:extLst>
          </p:cNvPr>
          <p:cNvSpPr>
            <a:spLocks noChangeAspect="1" noChangeArrowheads="1" noTextEdit="1"/>
          </p:cNvSpPr>
          <p:nvPr/>
        </p:nvSpPr>
        <p:spPr bwMode="auto">
          <a:xfrm>
            <a:off x="10253602" y="1306536"/>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17" name="AutoShape 3">
            <a:extLst>
              <a:ext uri="{FF2B5EF4-FFF2-40B4-BE49-F238E27FC236}">
                <a16:creationId xmlns:a16="http://schemas.microsoft.com/office/drawing/2014/main" id="{91A1A5E5-EC1A-45F6-A5A8-A9F67657C572}"/>
              </a:ext>
            </a:extLst>
          </p:cNvPr>
          <p:cNvSpPr>
            <a:spLocks noChangeAspect="1" noChangeArrowheads="1" noTextEdit="1"/>
          </p:cNvSpPr>
          <p:nvPr userDrawn="1"/>
        </p:nvSpPr>
        <p:spPr bwMode="auto">
          <a:xfrm>
            <a:off x="10193037" y="585222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7" name="Bildplatzhalter 6">
            <a:extLst>
              <a:ext uri="{FF2B5EF4-FFF2-40B4-BE49-F238E27FC236}">
                <a16:creationId xmlns:a16="http://schemas.microsoft.com/office/drawing/2014/main" id="{687571F0-98B1-44E8-9E7A-FC90C7446DB1}"/>
              </a:ext>
            </a:extLst>
          </p:cNvPr>
          <p:cNvSpPr>
            <a:spLocks noGrp="1"/>
          </p:cNvSpPr>
          <p:nvPr>
            <p:ph type="pic" sz="quarter" idx="17" hasCustomPrompt="1"/>
          </p:nvPr>
        </p:nvSpPr>
        <p:spPr>
          <a:xfrm>
            <a:off x="11074309" y="5300493"/>
            <a:ext cx="913684" cy="913684"/>
          </a:xfrm>
          <a:noFill/>
        </p:spPr>
        <p:txBody>
          <a:bodyPr rtlCol="0" anchor="ctr"/>
          <a:lstStyle>
            <a:lvl1pPr marL="0" indent="0" algn="ctr" rtl="0">
              <a:buNone/>
              <a:defRPr/>
            </a:lvl1pPr>
          </a:lstStyle>
          <a:p>
            <a:pPr rtl="0"/>
            <a:r>
              <a:rPr lang="ro"/>
              <a:t>QR </a:t>
            </a:r>
            <a:br>
              <a:rPr lang="en-GB"/>
            </a:br>
            <a:r>
              <a:rPr lang="ro"/>
              <a:t>code</a:t>
            </a:r>
          </a:p>
        </p:txBody>
      </p:sp>
      <p:sp>
        <p:nvSpPr>
          <p:cNvPr id="51" name="Textfeld 4">
            <a:extLst>
              <a:ext uri="{FF2B5EF4-FFF2-40B4-BE49-F238E27FC236}">
                <a16:creationId xmlns:a16="http://schemas.microsoft.com/office/drawing/2014/main" id="{9D0D19CB-DF52-480F-A5A7-8B333FE11F5E}"/>
              </a:ext>
            </a:extLst>
          </p:cNvPr>
          <p:cNvSpPr txBox="1">
            <a:spLocks/>
          </p:cNvSpPr>
          <p:nvPr userDrawn="1"/>
        </p:nvSpPr>
        <p:spPr>
          <a:xfrm>
            <a:off x="8200799" y="4616862"/>
            <a:ext cx="3711753" cy="430887"/>
          </a:xfrm>
          <a:prstGeom prst="rect">
            <a:avLst/>
          </a:prstGeom>
          <a:noFill/>
        </p:spPr>
        <p:txBody>
          <a:bodyPr wrap="square" lIns="0" tIns="0" rIns="0" bIns="0" rtlCol="0">
            <a:spAutoFit/>
          </a:bodyPr>
          <a:lstStyle/>
          <a:p>
            <a:pPr rtl="0"/>
            <a:r>
              <a:rPr lang="ro" sz="1400">
                <a:latin typeface="Arial" panose="020B0604020202020204" pitchFamily="34" charset="0"/>
                <a:cs typeface="Arial" panose="020B0604020202020204" pitchFamily="34" charset="0"/>
              </a:rPr>
              <a:t>Learn more about our company</a:t>
            </a:r>
            <a:br>
              <a:rPr lang="en-GB" sz="1400">
                <a:latin typeface="Arial" panose="020B0604020202020204" pitchFamily="34" charset="0"/>
                <a:cs typeface="Arial" panose="020B0604020202020204" pitchFamily="34" charset="0"/>
              </a:rPr>
            </a:br>
            <a:r>
              <a:rPr lang="ro" sz="1400">
                <a:latin typeface="Arial" panose="020B0604020202020204" pitchFamily="34" charset="0"/>
                <a:cs typeface="Arial" panose="020B0604020202020204" pitchFamily="34" charset="0"/>
                <a:hlinkClick r:id="rId7"/>
              </a:rPr>
              <a:t>www.tesa.cn</a:t>
            </a:r>
            <a:endParaRPr lang="en-GB" sz="1400">
              <a:latin typeface="Arial" panose="020B0604020202020204" pitchFamily="34" charset="0"/>
              <a:cs typeface="Arial" panose="020B0604020202020204" pitchFamily="34" charset="0"/>
            </a:endParaRPr>
          </a:p>
        </p:txBody>
      </p:sp>
      <p:sp>
        <p:nvSpPr>
          <p:cNvPr id="49" name="Freeform 21">
            <a:hlinkClick r:id="rId8"/>
            <a:extLst>
              <a:ext uri="{FF2B5EF4-FFF2-40B4-BE49-F238E27FC236}">
                <a16:creationId xmlns:a16="http://schemas.microsoft.com/office/drawing/2014/main" id="{C9DEED53-FC85-406B-9953-BF83E8A382C4}"/>
              </a:ext>
            </a:extLst>
          </p:cNvPr>
          <p:cNvSpPr>
            <a:spLocks noEditPoints="1"/>
          </p:cNvSpPr>
          <p:nvPr userDrawn="1"/>
        </p:nvSpPr>
        <p:spPr bwMode="auto">
          <a:xfrm>
            <a:off x="8200799" y="5852228"/>
            <a:ext cx="304800" cy="304800"/>
          </a:xfrm>
          <a:custGeom>
            <a:avLst/>
            <a:gdLst>
              <a:gd name="T0" fmla="*/ 630 w 667"/>
              <a:gd name="T1" fmla="*/ 37 h 667"/>
              <a:gd name="T2" fmla="*/ 542 w 667"/>
              <a:gd name="T3" fmla="*/ 0 h 667"/>
              <a:gd name="T4" fmla="*/ 125 w 667"/>
              <a:gd name="T5" fmla="*/ 0 h 667"/>
              <a:gd name="T6" fmla="*/ 37 w 667"/>
              <a:gd name="T7" fmla="*/ 37 h 667"/>
              <a:gd name="T8" fmla="*/ 0 w 667"/>
              <a:gd name="T9" fmla="*/ 125 h 667"/>
              <a:gd name="T10" fmla="*/ 0 w 667"/>
              <a:gd name="T11" fmla="*/ 542 h 667"/>
              <a:gd name="T12" fmla="*/ 37 w 667"/>
              <a:gd name="T13" fmla="*/ 630 h 667"/>
              <a:gd name="T14" fmla="*/ 125 w 667"/>
              <a:gd name="T15" fmla="*/ 667 h 667"/>
              <a:gd name="T16" fmla="*/ 542 w 667"/>
              <a:gd name="T17" fmla="*/ 667 h 667"/>
              <a:gd name="T18" fmla="*/ 630 w 667"/>
              <a:gd name="T19" fmla="*/ 630 h 667"/>
              <a:gd name="T20" fmla="*/ 667 w 667"/>
              <a:gd name="T21" fmla="*/ 542 h 667"/>
              <a:gd name="T22" fmla="*/ 667 w 667"/>
              <a:gd name="T23" fmla="*/ 125 h 667"/>
              <a:gd name="T24" fmla="*/ 630 w 667"/>
              <a:gd name="T25" fmla="*/ 37 h 667"/>
              <a:gd name="T26" fmla="*/ 103 w 667"/>
              <a:gd name="T27" fmla="*/ 558 h 667"/>
              <a:gd name="T28" fmla="*/ 203 w 667"/>
              <a:gd name="T29" fmla="*/ 558 h 667"/>
              <a:gd name="T30" fmla="*/ 203 w 667"/>
              <a:gd name="T31" fmla="*/ 257 h 667"/>
              <a:gd name="T32" fmla="*/ 103 w 667"/>
              <a:gd name="T33" fmla="*/ 257 h 667"/>
              <a:gd name="T34" fmla="*/ 103 w 667"/>
              <a:gd name="T35" fmla="*/ 558 h 667"/>
              <a:gd name="T36" fmla="*/ 194 w 667"/>
              <a:gd name="T37" fmla="*/ 201 h 667"/>
              <a:gd name="T38" fmla="*/ 153 w 667"/>
              <a:gd name="T39" fmla="*/ 216 h 667"/>
              <a:gd name="T40" fmla="*/ 152 w 667"/>
              <a:gd name="T41" fmla="*/ 216 h 667"/>
              <a:gd name="T42" fmla="*/ 112 w 667"/>
              <a:gd name="T43" fmla="*/ 201 h 667"/>
              <a:gd name="T44" fmla="*/ 97 w 667"/>
              <a:gd name="T45" fmla="*/ 164 h 667"/>
              <a:gd name="T46" fmla="*/ 113 w 667"/>
              <a:gd name="T47" fmla="*/ 127 h 667"/>
              <a:gd name="T48" fmla="*/ 154 w 667"/>
              <a:gd name="T49" fmla="*/ 112 h 667"/>
              <a:gd name="T50" fmla="*/ 194 w 667"/>
              <a:gd name="T51" fmla="*/ 127 h 667"/>
              <a:gd name="T52" fmla="*/ 210 w 667"/>
              <a:gd name="T53" fmla="*/ 164 h 667"/>
              <a:gd name="T54" fmla="*/ 194 w 667"/>
              <a:gd name="T55" fmla="*/ 201 h 667"/>
              <a:gd name="T56" fmla="*/ 564 w 667"/>
              <a:gd name="T57" fmla="*/ 558 h 667"/>
              <a:gd name="T58" fmla="*/ 464 w 667"/>
              <a:gd name="T59" fmla="*/ 558 h 667"/>
              <a:gd name="T60" fmla="*/ 464 w 667"/>
              <a:gd name="T61" fmla="*/ 397 h 667"/>
              <a:gd name="T62" fmla="*/ 413 w 667"/>
              <a:gd name="T63" fmla="*/ 329 h 667"/>
              <a:gd name="T64" fmla="*/ 381 w 667"/>
              <a:gd name="T65" fmla="*/ 340 h 667"/>
              <a:gd name="T66" fmla="*/ 361 w 667"/>
              <a:gd name="T67" fmla="*/ 365 h 667"/>
              <a:gd name="T68" fmla="*/ 358 w 667"/>
              <a:gd name="T69" fmla="*/ 390 h 667"/>
              <a:gd name="T70" fmla="*/ 358 w 667"/>
              <a:gd name="T71" fmla="*/ 558 h 667"/>
              <a:gd name="T72" fmla="*/ 258 w 667"/>
              <a:gd name="T73" fmla="*/ 558 h 667"/>
              <a:gd name="T74" fmla="*/ 258 w 667"/>
              <a:gd name="T75" fmla="*/ 257 h 667"/>
              <a:gd name="T76" fmla="*/ 358 w 667"/>
              <a:gd name="T77" fmla="*/ 257 h 667"/>
              <a:gd name="T78" fmla="*/ 358 w 667"/>
              <a:gd name="T79" fmla="*/ 299 h 667"/>
              <a:gd name="T80" fmla="*/ 448 w 667"/>
              <a:gd name="T81" fmla="*/ 250 h 667"/>
              <a:gd name="T82" fmla="*/ 532 w 667"/>
              <a:gd name="T83" fmla="*/ 284 h 667"/>
              <a:gd name="T84" fmla="*/ 564 w 667"/>
              <a:gd name="T85" fmla="*/ 385 h 667"/>
              <a:gd name="T86" fmla="*/ 564 w 667"/>
              <a:gd name="T87" fmla="*/ 558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7" h="667">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moveTo>
                  <a:pt x="103" y="558"/>
                </a:moveTo>
                <a:cubicBezTo>
                  <a:pt x="203" y="558"/>
                  <a:pt x="203" y="558"/>
                  <a:pt x="203" y="558"/>
                </a:cubicBezTo>
                <a:cubicBezTo>
                  <a:pt x="203" y="257"/>
                  <a:pt x="203" y="257"/>
                  <a:pt x="203" y="257"/>
                </a:cubicBezTo>
                <a:cubicBezTo>
                  <a:pt x="103" y="257"/>
                  <a:pt x="103" y="257"/>
                  <a:pt x="103" y="257"/>
                </a:cubicBezTo>
                <a:lnTo>
                  <a:pt x="103" y="558"/>
                </a:lnTo>
                <a:close/>
                <a:moveTo>
                  <a:pt x="194" y="201"/>
                </a:moveTo>
                <a:cubicBezTo>
                  <a:pt x="184" y="211"/>
                  <a:pt x="170" y="216"/>
                  <a:pt x="153" y="216"/>
                </a:cubicBezTo>
                <a:cubicBezTo>
                  <a:pt x="152" y="216"/>
                  <a:pt x="152" y="216"/>
                  <a:pt x="152" y="216"/>
                </a:cubicBezTo>
                <a:cubicBezTo>
                  <a:pt x="136" y="216"/>
                  <a:pt x="123" y="211"/>
                  <a:pt x="112" y="201"/>
                </a:cubicBezTo>
                <a:cubicBezTo>
                  <a:pt x="102" y="191"/>
                  <a:pt x="97" y="179"/>
                  <a:pt x="97" y="164"/>
                </a:cubicBezTo>
                <a:cubicBezTo>
                  <a:pt x="97" y="149"/>
                  <a:pt x="102" y="137"/>
                  <a:pt x="113" y="127"/>
                </a:cubicBezTo>
                <a:cubicBezTo>
                  <a:pt x="123" y="117"/>
                  <a:pt x="137" y="112"/>
                  <a:pt x="154" y="112"/>
                </a:cubicBezTo>
                <a:cubicBezTo>
                  <a:pt x="170" y="112"/>
                  <a:pt x="184" y="117"/>
                  <a:pt x="194" y="127"/>
                </a:cubicBezTo>
                <a:cubicBezTo>
                  <a:pt x="204" y="136"/>
                  <a:pt x="209" y="149"/>
                  <a:pt x="210" y="164"/>
                </a:cubicBezTo>
                <a:cubicBezTo>
                  <a:pt x="210" y="179"/>
                  <a:pt x="204" y="191"/>
                  <a:pt x="194" y="201"/>
                </a:cubicBezTo>
                <a:close/>
                <a:moveTo>
                  <a:pt x="564" y="558"/>
                </a:moveTo>
                <a:cubicBezTo>
                  <a:pt x="464" y="558"/>
                  <a:pt x="464" y="558"/>
                  <a:pt x="464" y="558"/>
                </a:cubicBezTo>
                <a:cubicBezTo>
                  <a:pt x="464" y="397"/>
                  <a:pt x="464" y="397"/>
                  <a:pt x="464" y="397"/>
                </a:cubicBezTo>
                <a:cubicBezTo>
                  <a:pt x="464" y="352"/>
                  <a:pt x="447" y="329"/>
                  <a:pt x="413" y="329"/>
                </a:cubicBezTo>
                <a:cubicBezTo>
                  <a:pt x="400" y="329"/>
                  <a:pt x="390" y="333"/>
                  <a:pt x="381" y="340"/>
                </a:cubicBezTo>
                <a:cubicBezTo>
                  <a:pt x="372" y="347"/>
                  <a:pt x="366" y="355"/>
                  <a:pt x="361" y="365"/>
                </a:cubicBezTo>
                <a:cubicBezTo>
                  <a:pt x="359" y="371"/>
                  <a:pt x="358" y="379"/>
                  <a:pt x="358" y="390"/>
                </a:cubicBezTo>
                <a:cubicBezTo>
                  <a:pt x="358" y="558"/>
                  <a:pt x="358" y="558"/>
                  <a:pt x="358" y="558"/>
                </a:cubicBezTo>
                <a:cubicBezTo>
                  <a:pt x="258" y="558"/>
                  <a:pt x="258" y="558"/>
                  <a:pt x="258" y="558"/>
                </a:cubicBezTo>
                <a:cubicBezTo>
                  <a:pt x="259" y="376"/>
                  <a:pt x="259" y="276"/>
                  <a:pt x="258" y="257"/>
                </a:cubicBezTo>
                <a:cubicBezTo>
                  <a:pt x="358" y="257"/>
                  <a:pt x="358" y="257"/>
                  <a:pt x="358" y="257"/>
                </a:cubicBezTo>
                <a:cubicBezTo>
                  <a:pt x="358" y="299"/>
                  <a:pt x="358" y="299"/>
                  <a:pt x="358" y="299"/>
                </a:cubicBezTo>
                <a:cubicBezTo>
                  <a:pt x="380" y="267"/>
                  <a:pt x="410" y="250"/>
                  <a:pt x="448" y="250"/>
                </a:cubicBezTo>
                <a:cubicBezTo>
                  <a:pt x="483" y="250"/>
                  <a:pt x="511" y="261"/>
                  <a:pt x="532" y="284"/>
                </a:cubicBezTo>
                <a:cubicBezTo>
                  <a:pt x="553" y="307"/>
                  <a:pt x="564" y="341"/>
                  <a:pt x="564" y="385"/>
                </a:cubicBezTo>
                <a:lnTo>
                  <a:pt x="564" y="558"/>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grpSp>
        <p:nvGrpSpPr>
          <p:cNvPr id="53" name="Gruppieren 52">
            <a:extLst>
              <a:ext uri="{FF2B5EF4-FFF2-40B4-BE49-F238E27FC236}">
                <a16:creationId xmlns:a16="http://schemas.microsoft.com/office/drawing/2014/main" id="{329089C3-4002-4094-B9C2-3B5F5A38CDF8}"/>
              </a:ext>
            </a:extLst>
          </p:cNvPr>
          <p:cNvGrpSpPr/>
          <p:nvPr userDrawn="1"/>
        </p:nvGrpSpPr>
        <p:grpSpPr>
          <a:xfrm>
            <a:off x="8699471" y="5852228"/>
            <a:ext cx="304800" cy="304800"/>
            <a:chOff x="9153951" y="5852228"/>
            <a:chExt cx="304800" cy="304800"/>
          </a:xfrm>
        </p:grpSpPr>
        <p:sp>
          <p:nvSpPr>
            <p:cNvPr id="55" name="Grafik 7">
              <a:extLst>
                <a:ext uri="{FF2B5EF4-FFF2-40B4-BE49-F238E27FC236}">
                  <a16:creationId xmlns:a16="http://schemas.microsoft.com/office/drawing/2014/main" id="{9ED2F869-1009-4E59-96BD-E3CB97A8AFEF}"/>
                </a:ext>
              </a:extLst>
            </p:cNvPr>
            <p:cNvSpPr/>
            <p:nvPr/>
          </p:nvSpPr>
          <p:spPr>
            <a:xfrm>
              <a:off x="9153951" y="5852228"/>
              <a:ext cx="304800" cy="304800"/>
            </a:xfrm>
            <a:prstGeom prst="roundRect">
              <a:avLst/>
            </a:pr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lvl="0" rtl="0"/>
              <a:endParaRPr lang="en-GB"/>
            </a:p>
          </p:txBody>
        </p:sp>
        <p:sp>
          <p:nvSpPr>
            <p:cNvPr id="56" name="Grafik 7">
              <a:extLst>
                <a:ext uri="{FF2B5EF4-FFF2-40B4-BE49-F238E27FC236}">
                  <a16:creationId xmlns:a16="http://schemas.microsoft.com/office/drawing/2014/main" id="{22A895B9-3E76-47A8-8E79-BDA1F8140906}"/>
                </a:ext>
              </a:extLst>
            </p:cNvPr>
            <p:cNvSpPr/>
            <p:nvPr/>
          </p:nvSpPr>
          <p:spPr>
            <a:xfrm>
              <a:off x="9197564" y="5916029"/>
              <a:ext cx="154697" cy="140614"/>
            </a:xfrm>
            <a:custGeom>
              <a:avLst/>
              <a:gdLst>
                <a:gd name="connsiteX0" fmla="*/ 1624460 w 1706498"/>
                <a:gd name="connsiteY0" fmla="*/ 591160 h 1551146"/>
                <a:gd name="connsiteX1" fmla="*/ 1706184 w 1706498"/>
                <a:gd name="connsiteY1" fmla="*/ 596113 h 1551146"/>
                <a:gd name="connsiteX2" fmla="*/ 848934 w 1706498"/>
                <a:gd name="connsiteY2" fmla="*/ -247 h 1551146"/>
                <a:gd name="connsiteX3" fmla="*/ -315 w 1706498"/>
                <a:gd name="connsiteY3" fmla="*/ 722033 h 1551146"/>
                <a:gd name="connsiteX4" fmla="*/ 339442 w 1706498"/>
                <a:gd name="connsiteY4" fmla="*/ 1295438 h 1551146"/>
                <a:gd name="connsiteX5" fmla="*/ 254574 w 1706498"/>
                <a:gd name="connsiteY5" fmla="*/ 1550899 h 1551146"/>
                <a:gd name="connsiteX6" fmla="*/ 551373 w 1706498"/>
                <a:gd name="connsiteY6" fmla="*/ 1402023 h 1551146"/>
                <a:gd name="connsiteX7" fmla="*/ 848934 w 1706498"/>
                <a:gd name="connsiteY7" fmla="*/ 1444600 h 1551146"/>
                <a:gd name="connsiteX8" fmla="*/ 928182 w 1706498"/>
                <a:gd name="connsiteY8" fmla="*/ 1441266 h 1551146"/>
                <a:gd name="connsiteX9" fmla="*/ 902369 w 1706498"/>
                <a:gd name="connsiteY9" fmla="*/ 1263053 h 1551146"/>
                <a:gd name="connsiteX10" fmla="*/ 1624460 w 1706498"/>
                <a:gd name="connsiteY10" fmla="*/ 591160 h 1551146"/>
                <a:gd name="connsiteX11" fmla="*/ 1167259 w 1706498"/>
                <a:gd name="connsiteY11" fmla="*/ 360845 h 1551146"/>
                <a:gd name="connsiteX12" fmla="*/ 1273558 w 1706498"/>
                <a:gd name="connsiteY12" fmla="*/ 466859 h 1551146"/>
                <a:gd name="connsiteX13" fmla="*/ 1167259 w 1706498"/>
                <a:gd name="connsiteY13" fmla="*/ 573158 h 1551146"/>
                <a:gd name="connsiteX14" fmla="*/ 1039815 w 1706498"/>
                <a:gd name="connsiteY14" fmla="*/ 466859 h 1551146"/>
                <a:gd name="connsiteX15" fmla="*/ 1167736 w 1706498"/>
                <a:gd name="connsiteY15" fmla="*/ 360845 h 1551146"/>
                <a:gd name="connsiteX16" fmla="*/ 572899 w 1706498"/>
                <a:gd name="connsiteY16" fmla="*/ 573158 h 1551146"/>
                <a:gd name="connsiteX17" fmla="*/ 444979 w 1706498"/>
                <a:gd name="connsiteY17" fmla="*/ 466859 h 1551146"/>
                <a:gd name="connsiteX18" fmla="*/ 572899 w 1706498"/>
                <a:gd name="connsiteY18" fmla="*/ 360845 h 1551146"/>
                <a:gd name="connsiteX19" fmla="*/ 678913 w 1706498"/>
                <a:gd name="connsiteY19" fmla="*/ 466859 h 1551146"/>
                <a:gd name="connsiteX20" fmla="*/ 573376 w 1706498"/>
                <a:gd name="connsiteY20" fmla="*/ 573158 h 155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06498" h="1551146">
                  <a:moveTo>
                    <a:pt x="1624460" y="591160"/>
                  </a:moveTo>
                  <a:cubicBezTo>
                    <a:pt x="1651767" y="591322"/>
                    <a:pt x="1679057" y="592979"/>
                    <a:pt x="1706184" y="596113"/>
                  </a:cubicBezTo>
                  <a:cubicBezTo>
                    <a:pt x="1632746" y="253975"/>
                    <a:pt x="1266891" y="-247"/>
                    <a:pt x="848934" y="-247"/>
                  </a:cubicBezTo>
                  <a:cubicBezTo>
                    <a:pt x="382209" y="-247"/>
                    <a:pt x="-315" y="317983"/>
                    <a:pt x="-315" y="722033"/>
                  </a:cubicBezTo>
                  <a:cubicBezTo>
                    <a:pt x="-315" y="955205"/>
                    <a:pt x="126844" y="1146848"/>
                    <a:pt x="339442" y="1295438"/>
                  </a:cubicBezTo>
                  <a:lnTo>
                    <a:pt x="254574" y="1550899"/>
                  </a:lnTo>
                  <a:lnTo>
                    <a:pt x="551373" y="1402023"/>
                  </a:lnTo>
                  <a:cubicBezTo>
                    <a:pt x="657672" y="1422978"/>
                    <a:pt x="742921" y="1444600"/>
                    <a:pt x="848934" y="1444600"/>
                  </a:cubicBezTo>
                  <a:cubicBezTo>
                    <a:pt x="875509" y="1444600"/>
                    <a:pt x="901988" y="1443267"/>
                    <a:pt x="928182" y="1441266"/>
                  </a:cubicBezTo>
                  <a:cubicBezTo>
                    <a:pt x="911132" y="1383392"/>
                    <a:pt x="902445" y="1323385"/>
                    <a:pt x="902369" y="1263053"/>
                  </a:cubicBezTo>
                  <a:cubicBezTo>
                    <a:pt x="902369" y="892245"/>
                    <a:pt x="1220885" y="591160"/>
                    <a:pt x="1624460" y="591160"/>
                  </a:cubicBezTo>
                  <a:close/>
                  <a:moveTo>
                    <a:pt x="1167259" y="360845"/>
                  </a:moveTo>
                  <a:cubicBezTo>
                    <a:pt x="1231267" y="360845"/>
                    <a:pt x="1273558" y="402851"/>
                    <a:pt x="1273558" y="466859"/>
                  </a:cubicBezTo>
                  <a:cubicBezTo>
                    <a:pt x="1273558" y="530867"/>
                    <a:pt x="1231267" y="573158"/>
                    <a:pt x="1167259" y="573158"/>
                  </a:cubicBezTo>
                  <a:cubicBezTo>
                    <a:pt x="1103251" y="573158"/>
                    <a:pt x="1039815" y="530486"/>
                    <a:pt x="1039815" y="466859"/>
                  </a:cubicBezTo>
                  <a:cubicBezTo>
                    <a:pt x="1039815" y="403232"/>
                    <a:pt x="1104109" y="360845"/>
                    <a:pt x="1167736" y="360845"/>
                  </a:cubicBezTo>
                  <a:close/>
                  <a:moveTo>
                    <a:pt x="572899" y="573158"/>
                  </a:moveTo>
                  <a:cubicBezTo>
                    <a:pt x="509177" y="573158"/>
                    <a:pt x="444979" y="530486"/>
                    <a:pt x="444979" y="466859"/>
                  </a:cubicBezTo>
                  <a:cubicBezTo>
                    <a:pt x="444979" y="403232"/>
                    <a:pt x="509177" y="360845"/>
                    <a:pt x="572899" y="360845"/>
                  </a:cubicBezTo>
                  <a:cubicBezTo>
                    <a:pt x="636622" y="360845"/>
                    <a:pt x="678913" y="402851"/>
                    <a:pt x="678913" y="466859"/>
                  </a:cubicBezTo>
                  <a:cubicBezTo>
                    <a:pt x="678913" y="530867"/>
                    <a:pt x="637098" y="573158"/>
                    <a:pt x="573376" y="573158"/>
                  </a:cubicBezTo>
                  <a:close/>
                </a:path>
              </a:pathLst>
            </a:custGeom>
            <a:solidFill>
              <a:srgbClr val="FFFFFF"/>
            </a:solidFill>
            <a:ln w="9525" cap="flat">
              <a:noFill/>
              <a:prstDash val="solid"/>
              <a:miter/>
            </a:ln>
          </p:spPr>
          <p:txBody>
            <a:bodyPr rtlCol="0" anchor="ctr"/>
            <a:lstStyle/>
            <a:p>
              <a:pPr rtl="0"/>
              <a:endParaRPr lang="en-GB"/>
            </a:p>
          </p:txBody>
        </p:sp>
        <p:sp>
          <p:nvSpPr>
            <p:cNvPr id="57" name="Grafik 7">
              <a:extLst>
                <a:ext uri="{FF2B5EF4-FFF2-40B4-BE49-F238E27FC236}">
                  <a16:creationId xmlns:a16="http://schemas.microsoft.com/office/drawing/2014/main" id="{6171FAB2-BB23-411D-9DFD-7B228094A784}"/>
                </a:ext>
              </a:extLst>
            </p:cNvPr>
            <p:cNvSpPr/>
            <p:nvPr/>
          </p:nvSpPr>
          <p:spPr>
            <a:xfrm>
              <a:off x="9284238" y="5973811"/>
              <a:ext cx="130874" cy="119442"/>
            </a:xfrm>
            <a:custGeom>
              <a:avLst/>
              <a:gdLst>
                <a:gd name="connsiteX0" fmla="*/ 1443389 w 1443704"/>
                <a:gd name="connsiteY0" fmla="*/ 616115 h 1317593"/>
                <a:gd name="connsiteX1" fmla="*/ 722061 w 1443704"/>
                <a:gd name="connsiteY1" fmla="*/ -247 h 1317593"/>
                <a:gd name="connsiteX2" fmla="*/ -315 w 1443704"/>
                <a:gd name="connsiteY2" fmla="*/ 616115 h 1317593"/>
                <a:gd name="connsiteX3" fmla="*/ 722061 w 1443704"/>
                <a:gd name="connsiteY3" fmla="*/ 1232288 h 1317593"/>
                <a:gd name="connsiteX4" fmla="*/ 976854 w 1443704"/>
                <a:gd name="connsiteY4" fmla="*/ 1189806 h 1317593"/>
                <a:gd name="connsiteX5" fmla="*/ 1209836 w 1443704"/>
                <a:gd name="connsiteY5" fmla="*/ 1317346 h 1317593"/>
                <a:gd name="connsiteX6" fmla="*/ 1145923 w 1443704"/>
                <a:gd name="connsiteY6" fmla="*/ 1105033 h 1317593"/>
                <a:gd name="connsiteX7" fmla="*/ 1443389 w 1443704"/>
                <a:gd name="connsiteY7" fmla="*/ 616115 h 1317593"/>
                <a:gd name="connsiteX8" fmla="*/ 487841 w 1443704"/>
                <a:gd name="connsiteY8" fmla="*/ 509435 h 1317593"/>
                <a:gd name="connsiteX9" fmla="*/ 402973 w 1443704"/>
                <a:gd name="connsiteY9" fmla="*/ 424377 h 1317593"/>
                <a:gd name="connsiteX10" fmla="*/ 487841 w 1443704"/>
                <a:gd name="connsiteY10" fmla="*/ 339509 h 1317593"/>
                <a:gd name="connsiteX11" fmla="*/ 594045 w 1443704"/>
                <a:gd name="connsiteY11" fmla="*/ 424377 h 1317593"/>
                <a:gd name="connsiteX12" fmla="*/ 487841 w 1443704"/>
                <a:gd name="connsiteY12" fmla="*/ 509435 h 1317593"/>
                <a:gd name="connsiteX13" fmla="*/ 955042 w 1443704"/>
                <a:gd name="connsiteY13" fmla="*/ 509435 h 1317593"/>
                <a:gd name="connsiteX14" fmla="*/ 870556 w 1443704"/>
                <a:gd name="connsiteY14" fmla="*/ 424377 h 1317593"/>
                <a:gd name="connsiteX15" fmla="*/ 955042 w 1443704"/>
                <a:gd name="connsiteY15" fmla="*/ 339509 h 1317593"/>
                <a:gd name="connsiteX16" fmla="*/ 1061246 w 1443704"/>
                <a:gd name="connsiteY16" fmla="*/ 424377 h 1317593"/>
                <a:gd name="connsiteX17" fmla="*/ 955042 w 1443704"/>
                <a:gd name="connsiteY17" fmla="*/ 509435 h 131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43704" h="1317593">
                  <a:moveTo>
                    <a:pt x="1443389" y="616115"/>
                  </a:moveTo>
                  <a:cubicBezTo>
                    <a:pt x="1443389" y="276549"/>
                    <a:pt x="1103632" y="-247"/>
                    <a:pt x="722061" y="-247"/>
                  </a:cubicBezTo>
                  <a:cubicBezTo>
                    <a:pt x="317915" y="-247"/>
                    <a:pt x="-315" y="276549"/>
                    <a:pt x="-315" y="616115"/>
                  </a:cubicBezTo>
                  <a:cubicBezTo>
                    <a:pt x="-315" y="955681"/>
                    <a:pt x="317915" y="1232288"/>
                    <a:pt x="722061" y="1232288"/>
                  </a:cubicBezTo>
                  <a:cubicBezTo>
                    <a:pt x="806547" y="1232288"/>
                    <a:pt x="891892" y="1211047"/>
                    <a:pt x="976854" y="1189806"/>
                  </a:cubicBezTo>
                  <a:lnTo>
                    <a:pt x="1209836" y="1317346"/>
                  </a:lnTo>
                  <a:lnTo>
                    <a:pt x="1145923" y="1105033"/>
                  </a:lnTo>
                  <a:cubicBezTo>
                    <a:pt x="1316326" y="976827"/>
                    <a:pt x="1443389" y="807187"/>
                    <a:pt x="1443389" y="616115"/>
                  </a:cubicBezTo>
                  <a:close/>
                  <a:moveTo>
                    <a:pt x="487841" y="509435"/>
                  </a:moveTo>
                  <a:cubicBezTo>
                    <a:pt x="445550" y="509435"/>
                    <a:pt x="402973" y="467335"/>
                    <a:pt x="402973" y="424377"/>
                  </a:cubicBezTo>
                  <a:cubicBezTo>
                    <a:pt x="402973" y="381419"/>
                    <a:pt x="445550" y="339509"/>
                    <a:pt x="487841" y="339509"/>
                  </a:cubicBezTo>
                  <a:cubicBezTo>
                    <a:pt x="552040" y="339509"/>
                    <a:pt x="594045" y="382181"/>
                    <a:pt x="594045" y="424377"/>
                  </a:cubicBezTo>
                  <a:cubicBezTo>
                    <a:pt x="594045" y="466573"/>
                    <a:pt x="552040" y="509435"/>
                    <a:pt x="487841" y="509435"/>
                  </a:cubicBezTo>
                  <a:close/>
                  <a:moveTo>
                    <a:pt x="955042" y="509435"/>
                  </a:moveTo>
                  <a:cubicBezTo>
                    <a:pt x="912942" y="509435"/>
                    <a:pt x="870556" y="467335"/>
                    <a:pt x="870556" y="424377"/>
                  </a:cubicBezTo>
                  <a:cubicBezTo>
                    <a:pt x="870556" y="381419"/>
                    <a:pt x="912942" y="339509"/>
                    <a:pt x="955042" y="339509"/>
                  </a:cubicBezTo>
                  <a:cubicBezTo>
                    <a:pt x="1018669" y="339509"/>
                    <a:pt x="1061246" y="382181"/>
                    <a:pt x="1061246" y="424377"/>
                  </a:cubicBezTo>
                  <a:cubicBezTo>
                    <a:pt x="1061246" y="466573"/>
                    <a:pt x="1018669" y="509435"/>
                    <a:pt x="955042" y="509435"/>
                  </a:cubicBezTo>
                  <a:close/>
                </a:path>
              </a:pathLst>
            </a:custGeom>
            <a:solidFill>
              <a:srgbClr val="FFFFFF"/>
            </a:solidFill>
            <a:ln w="9525" cap="flat">
              <a:noFill/>
              <a:prstDash val="solid"/>
              <a:miter/>
            </a:ln>
          </p:spPr>
          <p:txBody>
            <a:bodyPr rtlCol="0" anchor="ctr"/>
            <a:lstStyle/>
            <a:p>
              <a:pPr rtl="0"/>
              <a:endParaRPr lang="en-GB"/>
            </a:p>
          </p:txBody>
        </p:sp>
      </p:grpSp>
    </p:spTree>
    <p:custDataLst>
      <p:tags r:id="rId2"/>
    </p:custDataLst>
    <p:extLst>
      <p:ext uri="{BB962C8B-B14F-4D97-AF65-F5344CB8AC3E}">
        <p14:creationId xmlns:p14="http://schemas.microsoft.com/office/powerpoint/2010/main" val="158752055"/>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ank you changeabl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062173450"/>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837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8" name="Bildplatzhalter 67">
            <a:extLst>
              <a:ext uri="{FF2B5EF4-FFF2-40B4-BE49-F238E27FC236}">
                <a16:creationId xmlns:a16="http://schemas.microsoft.com/office/drawing/2014/main" id="{96B1D410-3F2D-42FA-B47A-3D9E7AAA025F}"/>
              </a:ext>
            </a:extLst>
          </p:cNvPr>
          <p:cNvSpPr>
            <a:spLocks noGrp="1"/>
          </p:cNvSpPr>
          <p:nvPr>
            <p:ph type="pic" sz="quarter" idx="16" hasCustomPrompt="1"/>
          </p:nvPr>
        </p:nvSpPr>
        <p:spPr>
          <a:xfrm>
            <a:off x="0" y="0"/>
            <a:ext cx="12198350" cy="4030663"/>
          </a:xfrm>
          <a:custGeom>
            <a:avLst/>
            <a:gdLst>
              <a:gd name="connsiteX0" fmla="*/ 10215479 w 12198350"/>
              <a:gd name="connsiteY0" fmla="*/ 263197 h 4030663"/>
              <a:gd name="connsiteX1" fmla="*/ 10215479 w 12198350"/>
              <a:gd name="connsiteY1" fmla="*/ 792687 h 4030663"/>
              <a:gd name="connsiteX2" fmla="*/ 11933140 w 12198350"/>
              <a:gd name="connsiteY2" fmla="*/ 792687 h 4030663"/>
              <a:gd name="connsiteX3" fmla="*/ 11933140 w 12198350"/>
              <a:gd name="connsiteY3" fmla="*/ 263197 h 4030663"/>
              <a:gd name="connsiteX4" fmla="*/ 0 w 12198350"/>
              <a:gd name="connsiteY4" fmla="*/ 0 h 4030663"/>
              <a:gd name="connsiteX5" fmla="*/ 12198350 w 12198350"/>
              <a:gd name="connsiteY5" fmla="*/ 0 h 4030663"/>
              <a:gd name="connsiteX6" fmla="*/ 12198350 w 12198350"/>
              <a:gd name="connsiteY6" fmla="*/ 4030663 h 4030663"/>
              <a:gd name="connsiteX7" fmla="*/ 8191500 w 12198350"/>
              <a:gd name="connsiteY7" fmla="*/ 4030663 h 4030663"/>
              <a:gd name="connsiteX8" fmla="*/ 8191500 w 12198350"/>
              <a:gd name="connsiteY8" fmla="*/ 3671000 h 4030663"/>
              <a:gd name="connsiteX9" fmla="*/ 0 w 12198350"/>
              <a:gd name="connsiteY9" fmla="*/ 3671000 h 40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4030663">
                <a:moveTo>
                  <a:pt x="10215479" y="263197"/>
                </a:moveTo>
                <a:lnTo>
                  <a:pt x="10215479" y="792687"/>
                </a:lnTo>
                <a:lnTo>
                  <a:pt x="11933140" y="792687"/>
                </a:lnTo>
                <a:lnTo>
                  <a:pt x="11933140" y="263197"/>
                </a:lnTo>
                <a:close/>
                <a:moveTo>
                  <a:pt x="0" y="0"/>
                </a:moveTo>
                <a:lnTo>
                  <a:pt x="12198350" y="0"/>
                </a:lnTo>
                <a:lnTo>
                  <a:pt x="12198350" y="4030663"/>
                </a:lnTo>
                <a:lnTo>
                  <a:pt x="8191500" y="4030663"/>
                </a:lnTo>
                <a:lnTo>
                  <a:pt x="8191500" y="3671000"/>
                </a:lnTo>
                <a:lnTo>
                  <a:pt x="0" y="3671000"/>
                </a:lnTo>
                <a:close/>
              </a:path>
            </a:pathLst>
          </a:custGeom>
          <a:solidFill>
            <a:schemeClr val="bg2"/>
          </a:solidFill>
        </p:spPr>
        <p:txBody>
          <a:bodyPr wrap="square" rtlCol="0" anchor="ctr">
            <a:noAutofit/>
          </a:bodyPr>
          <a:lstStyle>
            <a:lvl1pPr marL="0" indent="0" algn="ctr" rtl="0">
              <a:buNone/>
              <a:defRPr b="0"/>
            </a:lvl1pPr>
          </a:lstStyle>
          <a:p>
            <a:pPr rtl="0"/>
            <a:r>
              <a:rPr lang="ro" noProof="0"/>
              <a:t>Please insert an image</a:t>
            </a:r>
            <a:br>
              <a:rPr lang="en-GB" noProof="0"/>
            </a:br>
            <a:br>
              <a:rPr lang="en-GB" noProof="0"/>
            </a:br>
            <a:br>
              <a:rPr lang="en-GB" noProof="0"/>
            </a:br>
            <a:endParaRPr lang="en-GB"/>
          </a:p>
        </p:txBody>
      </p:sp>
      <p:sp>
        <p:nvSpPr>
          <p:cNvPr id="4" name="Textplatzhalter 3"/>
          <p:cNvSpPr>
            <a:spLocks noGrp="1"/>
          </p:cNvSpPr>
          <p:nvPr>
            <p:ph type="body" sz="quarter" idx="10" hasCustomPrompt="1"/>
          </p:nvPr>
        </p:nvSpPr>
        <p:spPr>
          <a:xfrm>
            <a:off x="519113" y="3927884"/>
            <a:ext cx="5693569" cy="553998"/>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lvl="0" rtl="0"/>
            <a:r>
              <a:rPr lang="ro" noProof="0"/>
              <a:t>Thank you for your attention!</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52" name="Textplatzhalter 3">
            <a:extLst>
              <a:ext uri="{FF2B5EF4-FFF2-40B4-BE49-F238E27FC236}">
                <a16:creationId xmlns:a16="http://schemas.microsoft.com/office/drawing/2014/main" id="{62607DD7-FD68-423F-8CAD-9C36FF1605D4}"/>
              </a:ext>
            </a:extLst>
          </p:cNvPr>
          <p:cNvSpPr>
            <a:spLocks noGrp="1"/>
          </p:cNvSpPr>
          <p:nvPr userDrawn="1">
            <p:ph type="body" sz="quarter" idx="15" hasCustomPrompt="1"/>
          </p:nvPr>
        </p:nvSpPr>
        <p:spPr>
          <a:xfrm>
            <a:off x="519113" y="4616862"/>
            <a:ext cx="5693569" cy="215444"/>
          </a:xfrm>
          <a:noFill/>
        </p:spPr>
        <p:txBody>
          <a:bodyPr wrap="square" lIns="0" tIns="0" rIns="0" bIns="0" rtlCol="0" anchor="t">
            <a:spAutoFit/>
          </a:bodyPr>
          <a:lstStyle>
            <a:lvl1pPr marL="0" indent="0" rtl="0">
              <a:buNone/>
              <a:defRPr sz="1400" b="0" cap="none" baseline="0">
                <a:solidFill>
                  <a:schemeClr val="tx1"/>
                </a:solidFill>
                <a:latin typeface="+mn-lt"/>
              </a:defRPr>
            </a:lvl1pPr>
          </a:lstStyle>
          <a:p>
            <a:pPr lvl="0" rtl="0"/>
            <a:r>
              <a:rPr lang="ro" noProof="0"/>
              <a:t>Name</a:t>
            </a:r>
          </a:p>
        </p:txBody>
      </p:sp>
      <p:sp>
        <p:nvSpPr>
          <p:cNvPr id="47" name="Rechteck 46">
            <a:extLst>
              <a:ext uri="{FF2B5EF4-FFF2-40B4-BE49-F238E27FC236}">
                <a16:creationId xmlns:a16="http://schemas.microsoft.com/office/drawing/2014/main" id="{46A62BB1-0DA7-4E41-9F7A-6C2CFE54250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8" name="Rechteck 47">
            <a:extLst>
              <a:ext uri="{FF2B5EF4-FFF2-40B4-BE49-F238E27FC236}">
                <a16:creationId xmlns:a16="http://schemas.microsoft.com/office/drawing/2014/main" id="{F21BA462-2946-4163-B2CE-B44C8E5721B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4" name="AutoShape 4">
            <a:extLst>
              <a:ext uri="{FF2B5EF4-FFF2-40B4-BE49-F238E27FC236}">
                <a16:creationId xmlns:a16="http://schemas.microsoft.com/office/drawing/2014/main" id="{510C1027-9FFF-4D5E-B4B5-42C2FFFB5EA3}"/>
              </a:ext>
            </a:extLst>
          </p:cNvPr>
          <p:cNvSpPr>
            <a:spLocks noChangeAspect="1" noChangeArrowheads="1" noTextEdit="1"/>
          </p:cNvSpPr>
          <p:nvPr/>
        </p:nvSpPr>
        <p:spPr bwMode="auto">
          <a:xfrm>
            <a:off x="10253602" y="1306536"/>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17" name="AutoShape 3">
            <a:extLst>
              <a:ext uri="{FF2B5EF4-FFF2-40B4-BE49-F238E27FC236}">
                <a16:creationId xmlns:a16="http://schemas.microsoft.com/office/drawing/2014/main" id="{91A1A5E5-EC1A-45F6-A5A8-A9F67657C572}"/>
              </a:ext>
            </a:extLst>
          </p:cNvPr>
          <p:cNvSpPr>
            <a:spLocks noChangeAspect="1" noChangeArrowheads="1" noTextEdit="1"/>
          </p:cNvSpPr>
          <p:nvPr userDrawn="1"/>
        </p:nvSpPr>
        <p:spPr bwMode="auto">
          <a:xfrm>
            <a:off x="10193037" y="585222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7" name="Bildplatzhalter 6">
            <a:extLst>
              <a:ext uri="{FF2B5EF4-FFF2-40B4-BE49-F238E27FC236}">
                <a16:creationId xmlns:a16="http://schemas.microsoft.com/office/drawing/2014/main" id="{687571F0-98B1-44E8-9E7A-FC90C7446DB1}"/>
              </a:ext>
            </a:extLst>
          </p:cNvPr>
          <p:cNvSpPr>
            <a:spLocks noGrp="1"/>
          </p:cNvSpPr>
          <p:nvPr>
            <p:ph type="pic" sz="quarter" idx="17" hasCustomPrompt="1"/>
          </p:nvPr>
        </p:nvSpPr>
        <p:spPr>
          <a:xfrm>
            <a:off x="11074309" y="5300493"/>
            <a:ext cx="913684" cy="913684"/>
          </a:xfrm>
          <a:noFill/>
        </p:spPr>
        <p:txBody>
          <a:bodyPr rtlCol="0" anchor="ctr"/>
          <a:lstStyle>
            <a:lvl1pPr marL="0" indent="0" algn="ctr" rtl="0">
              <a:buNone/>
              <a:defRPr/>
            </a:lvl1pPr>
          </a:lstStyle>
          <a:p>
            <a:pPr rtl="0"/>
            <a:r>
              <a:rPr lang="ro"/>
              <a:t>QR </a:t>
            </a:r>
            <a:br>
              <a:rPr lang="en-GB"/>
            </a:br>
            <a:r>
              <a:rPr lang="ro"/>
              <a:t>code</a:t>
            </a:r>
          </a:p>
        </p:txBody>
      </p:sp>
      <p:sp>
        <p:nvSpPr>
          <p:cNvPr id="6" name="Text Placeholder 5">
            <a:extLst>
              <a:ext uri="{FF2B5EF4-FFF2-40B4-BE49-F238E27FC236}">
                <a16:creationId xmlns:a16="http://schemas.microsoft.com/office/drawing/2014/main" id="{04D5E08A-FD2D-49F1-A804-B9E7AF13CD93}"/>
              </a:ext>
            </a:extLst>
          </p:cNvPr>
          <p:cNvSpPr>
            <a:spLocks noGrp="1"/>
          </p:cNvSpPr>
          <p:nvPr>
            <p:ph type="body" sz="quarter" idx="18" hasCustomPrompt="1"/>
          </p:nvPr>
        </p:nvSpPr>
        <p:spPr>
          <a:xfrm>
            <a:off x="8200799" y="4616862"/>
            <a:ext cx="3711753" cy="430887"/>
          </a:xfrm>
        </p:spPr>
        <p:txBody>
          <a:bodyPr rtlCol="0">
            <a:spAutoFit/>
          </a:bodyPr>
          <a:lstStyle>
            <a:lvl1pPr marL="0" indent="0" rtl="0">
              <a:buNone/>
              <a:defRPr sz="1400" b="0"/>
            </a:lvl1pPr>
            <a:lvl2pPr>
              <a:defRPr sz="1400"/>
            </a:lvl2pPr>
            <a:lvl3pPr>
              <a:defRPr sz="1400"/>
            </a:lvl3pPr>
            <a:lvl4pPr>
              <a:defRPr sz="1400"/>
            </a:lvl4pPr>
            <a:lvl5pPr>
              <a:defRPr sz="1400"/>
            </a:lvl5pPr>
          </a:lstStyle>
          <a:p>
            <a:pPr lvl="0" rtl="0"/>
            <a:r>
              <a:rPr lang="ro"/>
              <a:t>Learn more about our company</a:t>
            </a:r>
            <a:br>
              <a:rPr lang="en-GB"/>
            </a:br>
            <a:r>
              <a:rPr lang="ro"/>
              <a:t>Please enter your URL</a:t>
            </a:r>
          </a:p>
        </p:txBody>
      </p:sp>
    </p:spTree>
    <p:custDataLst>
      <p:tags r:id="rId2"/>
    </p:custDataLst>
    <p:extLst>
      <p:ext uri="{BB962C8B-B14F-4D97-AF65-F5344CB8AC3E}">
        <p14:creationId xmlns:p14="http://schemas.microsoft.com/office/powerpoint/2010/main" val="3886766659"/>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3"/>
            </p:custDataLst>
            <p:extLst>
              <p:ext uri="{D42A27DB-BD31-4B8C-83A1-F6EECF244321}">
                <p14:modId xmlns:p14="http://schemas.microsoft.com/office/powerpoint/2010/main" val="3268569496"/>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9399"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2119" y="1589"/>
                        <a:ext cx="2117" cy="1587"/>
                      </a:xfrm>
                      <a:prstGeom prst="rect">
                        <a:avLst/>
                      </a:prstGeom>
                    </p:spPr>
                  </p:pic>
                </p:oleObj>
              </mc:Fallback>
            </mc:AlternateContent>
          </a:graphicData>
        </a:graphic>
      </p:graphicFrame>
      <p:pic>
        <p:nvPicPr>
          <p:cNvPr id="9" name="Grafik 8" descr="Ein Bild, das Zeichnung, Essen enthält.&#10;&#10;Automatisch generierte Beschreibung">
            <a:extLst>
              <a:ext uri="{FF2B5EF4-FFF2-40B4-BE49-F238E27FC236}">
                <a16:creationId xmlns:a16="http://schemas.microsoft.com/office/drawing/2014/main" id="{81975252-B705-47E4-B273-7E3E8C4C835F}"/>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4018719" y="2790306"/>
            <a:ext cx="4160913" cy="1277389"/>
          </a:xfrm>
          <a:prstGeom prst="rect">
            <a:avLst/>
          </a:prstGeom>
        </p:spPr>
      </p:pic>
      <p:sp>
        <p:nvSpPr>
          <p:cNvPr id="38" name="Rechteck 37">
            <a:extLst>
              <a:ext uri="{FF2B5EF4-FFF2-40B4-BE49-F238E27FC236}">
                <a16:creationId xmlns:a16="http://schemas.microsoft.com/office/drawing/2014/main" id="{34966E20-C08B-417E-BC28-DEE6FD70F92A}"/>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de-DE" noProof="0"/>
          </a:p>
        </p:txBody>
      </p:sp>
      <p:sp>
        <p:nvSpPr>
          <p:cNvPr id="39" name="Rechteck 38">
            <a:extLst>
              <a:ext uri="{FF2B5EF4-FFF2-40B4-BE49-F238E27FC236}">
                <a16:creationId xmlns:a16="http://schemas.microsoft.com/office/drawing/2014/main" id="{6FDCF0B2-26EC-4372-BEEC-1997CF0749DC}"/>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de-DE" noProof="0"/>
          </a:p>
        </p:txBody>
      </p:sp>
    </p:spTree>
    <p:custDataLst>
      <p:tags r:id="rId2"/>
    </p:custDataLst>
    <p:extLst>
      <p:ext uri="{BB962C8B-B14F-4D97-AF65-F5344CB8AC3E}">
        <p14:creationId xmlns:p14="http://schemas.microsoft.com/office/powerpoint/2010/main" val="16156593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8999C-CB6C-59A3-0216-F7CC1BA5FCC4}"/>
              </a:ext>
            </a:extLst>
          </p:cNvPr>
          <p:cNvSpPr>
            <a:spLocks noGrp="1"/>
          </p:cNvSpPr>
          <p:nvPr>
            <p:ph type="ctrTitle"/>
          </p:nvPr>
        </p:nvSpPr>
        <p:spPr>
          <a:xfrm>
            <a:off x="1524794" y="2586633"/>
            <a:ext cx="9148763" cy="923330"/>
          </a:xfrm>
        </p:spPr>
        <p:txBody>
          <a:bodyPr rtlCol="0" anchor="b"/>
          <a:lstStyle>
            <a:lvl1pPr algn="ctr">
              <a:defRPr sz="6000"/>
            </a:lvl1pPr>
          </a:lstStyle>
          <a:p>
            <a:pPr rtl="0"/>
            <a:r>
              <a:rPr lang="ro"/>
              <a:t>Click to edit Master title style</a:t>
            </a:r>
            <a:endParaRPr lang="en-GB"/>
          </a:p>
        </p:txBody>
      </p:sp>
      <p:sp>
        <p:nvSpPr>
          <p:cNvPr id="3" name="Subtitle 2">
            <a:extLst>
              <a:ext uri="{FF2B5EF4-FFF2-40B4-BE49-F238E27FC236}">
                <a16:creationId xmlns:a16="http://schemas.microsoft.com/office/drawing/2014/main" id="{6707803E-7529-91AB-D4A5-93928745E00B}"/>
              </a:ext>
            </a:extLst>
          </p:cNvPr>
          <p:cNvSpPr>
            <a:spLocks noGrp="1"/>
          </p:cNvSpPr>
          <p:nvPr>
            <p:ph type="subTitle" idx="1"/>
          </p:nvPr>
        </p:nvSpPr>
        <p:spPr>
          <a:xfrm>
            <a:off x="1524794" y="3602038"/>
            <a:ext cx="9148763" cy="1655762"/>
          </a:xfrm>
        </p:spPr>
        <p:txBody>
          <a:bodyPr rtlCol="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ro"/>
              <a:t>Click to edit Master subtitle style</a:t>
            </a:r>
            <a:endParaRPr lang="en-GB"/>
          </a:p>
        </p:txBody>
      </p:sp>
      <p:sp>
        <p:nvSpPr>
          <p:cNvPr id="4" name="Date Placeholder 3">
            <a:extLst>
              <a:ext uri="{FF2B5EF4-FFF2-40B4-BE49-F238E27FC236}">
                <a16:creationId xmlns:a16="http://schemas.microsoft.com/office/drawing/2014/main" id="{BD66FDFF-475C-09FD-9CEF-88EFCB22DD9A}"/>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36E4874A-F568-82A4-D431-A2612E76151D}"/>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1A59F015-4569-2A72-4053-64FCE6720352}"/>
              </a:ext>
            </a:extLst>
          </p:cNvPr>
          <p:cNvSpPr>
            <a:spLocks noGrp="1"/>
          </p:cNvSpPr>
          <p:nvPr>
            <p:ph type="sldNum" sz="quarter" idx="12"/>
          </p:nvPr>
        </p:nvSpPr>
        <p:spPr/>
        <p:txBody>
          <a:bodyPr rtlCol="0"/>
          <a:lstStyle/>
          <a:p>
            <a:pPr rtl="0"/>
            <a:fld id="{EEC234E5-33F5-4408-9231-62FD3F1E43CF}" type="slidenum">
              <a:rPr lang="en-GB" smtClean="0"/>
              <a:t>‹nr.›</a:t>
            </a:fld>
            <a:endParaRPr lang="en-GB"/>
          </a:p>
        </p:txBody>
      </p:sp>
    </p:spTree>
    <p:extLst>
      <p:ext uri="{BB962C8B-B14F-4D97-AF65-F5344CB8AC3E}">
        <p14:creationId xmlns:p14="http://schemas.microsoft.com/office/powerpoint/2010/main" val="7587629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fidentiality notic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1228848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hteck 23">
            <a:extLst>
              <a:ext uri="{FF2B5EF4-FFF2-40B4-BE49-F238E27FC236}">
                <a16:creationId xmlns:a16="http://schemas.microsoft.com/office/drawing/2014/main" id="{D3F36EC0-A559-4161-BA7B-B10832F26DE3}"/>
              </a:ext>
            </a:extLst>
          </p:cNvPr>
          <p:cNvSpPr/>
          <p:nvPr userDrawn="1"/>
        </p:nvSpPr>
        <p:spPr>
          <a:xfrm>
            <a:off x="0" y="1268413"/>
            <a:ext cx="12198350" cy="50768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US" smtClean="0"/>
              <a:pPr rtl="0"/>
              <a:t>‹nr.›</a:t>
            </a:fld>
            <a:r>
              <a:rPr lang="ro"/>
              <a:t> -</a:t>
            </a:r>
          </a:p>
        </p:txBody>
      </p:sp>
      <p:sp>
        <p:nvSpPr>
          <p:cNvPr id="15" name="Textfeld 14">
            <a:extLst>
              <a:ext uri="{FF2B5EF4-FFF2-40B4-BE49-F238E27FC236}">
                <a16:creationId xmlns:a16="http://schemas.microsoft.com/office/drawing/2014/main" id="{E8A3D2DE-E237-4C9C-9BB4-1F35589D0243}"/>
              </a:ext>
            </a:extLst>
          </p:cNvPr>
          <p:cNvSpPr txBox="1"/>
          <p:nvPr userDrawn="1"/>
        </p:nvSpPr>
        <p:spPr>
          <a:xfrm>
            <a:off x="519113" y="1675253"/>
            <a:ext cx="11415312" cy="1846659"/>
          </a:xfrm>
          <a:prstGeom prst="rect">
            <a:avLst/>
          </a:prstGeom>
          <a:noFill/>
        </p:spPr>
        <p:txBody>
          <a:bodyPr wrap="square" lIns="0" tIns="0" rIns="0" bIns="0" rtlCol="0">
            <a:spAutoFit/>
          </a:bodyPr>
          <a:lstStyle/>
          <a:p>
            <a:pPr marL="0" indent="0" rtl="0">
              <a:buNone/>
            </a:pPr>
            <a:r>
              <a:rPr lang="ro" sz="2400"/>
              <a:t>This document contains confidential information which is legally privileged.</a:t>
            </a:r>
            <a:br>
              <a:rPr lang="en-US" sz="2400"/>
            </a:br>
            <a:endParaRPr lang="en-US" sz="2400"/>
          </a:p>
          <a:p>
            <a:pPr marL="0" indent="0" rtl="0">
              <a:buNone/>
            </a:pPr>
            <a:r>
              <a:rPr lang="ro" sz="2400"/>
              <a:t>The information is proprietary to tesa SE. Any disclosure, use, copying </a:t>
            </a:r>
            <a:br>
              <a:rPr lang="en-US" sz="2400"/>
            </a:br>
            <a:r>
              <a:rPr lang="ro" sz="2400"/>
              <a:t>or distribution of the contents of this document, in whole or part, is strictly </a:t>
            </a:r>
            <a:br>
              <a:rPr lang="en-US" sz="2400"/>
            </a:br>
            <a:r>
              <a:rPr lang="ro" sz="2400"/>
              <a:t>prohibited without the written permission of tesa SE.</a:t>
            </a:r>
          </a:p>
        </p:txBody>
      </p:sp>
      <p:sp>
        <p:nvSpPr>
          <p:cNvPr id="21" name="Titel 5">
            <a:extLst>
              <a:ext uri="{FF2B5EF4-FFF2-40B4-BE49-F238E27FC236}">
                <a16:creationId xmlns:a16="http://schemas.microsoft.com/office/drawing/2014/main" id="{10B99F4B-2158-4C5F-93CC-308FB6BE9599}"/>
              </a:ext>
            </a:extLst>
          </p:cNvPr>
          <p:cNvSpPr txBox="1">
            <a:spLocks/>
          </p:cNvSpPr>
          <p:nvPr userDrawn="1"/>
        </p:nvSpPr>
        <p:spPr>
          <a:xfrm>
            <a:off x="519113" y="401503"/>
            <a:ext cx="9682162" cy="677108"/>
          </a:xfrm>
          <a:prstGeom prst="rect">
            <a:avLst/>
          </a:prstGeom>
        </p:spPr>
        <p:txBody>
          <a:bodyPr vert="horz" wrap="square" lIns="0" tIns="0" rIns="0" bIns="0" rtlCol="0" anchor="t">
            <a:spAutoFit/>
          </a:bodyPr>
          <a:lstStyle>
            <a:lvl1pPr algn="l" defTabSz="914400" rtl="0" eaLnBrk="1" latinLnBrk="0" hangingPunct="1">
              <a:spcBef>
                <a:spcPct val="0"/>
              </a:spcBef>
              <a:buNone/>
              <a:defRPr sz="2400" b="0" kern="1200" cap="none" baseline="0">
                <a:solidFill>
                  <a:schemeClr val="tx1"/>
                </a:solidFill>
                <a:latin typeface="+mj-lt"/>
                <a:ea typeface="+mj-ea"/>
                <a:cs typeface="+mj-cs"/>
              </a:defRPr>
            </a:lvl1pPr>
          </a:lstStyle>
          <a:p>
            <a:pPr rtl="0"/>
            <a:r>
              <a:rPr lang="ro" sz="4400">
                <a:solidFill>
                  <a:schemeClr val="accent6"/>
                </a:solidFill>
              </a:rPr>
              <a:t>Confidentiality notice</a:t>
            </a:r>
          </a:p>
        </p:txBody>
      </p:sp>
    </p:spTree>
    <p:custDataLst>
      <p:tags r:id="rId2"/>
    </p:custDataLst>
    <p:extLst>
      <p:ext uri="{BB962C8B-B14F-4D97-AF65-F5344CB8AC3E}">
        <p14:creationId xmlns:p14="http://schemas.microsoft.com/office/powerpoint/2010/main" val="18864426"/>
      </p:ext>
    </p:extLst>
  </p:cSld>
  <p:clrMapOvr>
    <a:masterClrMapping/>
  </p:clrMapOvr>
  <p:extLst>
    <p:ext uri="{DCECCB84-F9BA-43D5-87BE-67443E8EF086}">
      <p15:sldGuideLst xmlns:p15="http://schemas.microsoft.com/office/powerpoint/2012/main">
        <p15:guide id="1" pos="32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1934C84-05B0-4B49-940A-504877AAAD8A}"/>
              </a:ext>
            </a:extLst>
          </p:cNvPr>
          <p:cNvGraphicFramePr>
            <a:graphicFrameLocks noChangeAspect="1"/>
          </p:cNvGraphicFramePr>
          <p:nvPr userDrawn="1">
            <p:custDataLst>
              <p:tags r:id="rId3"/>
            </p:custDataLst>
            <p:extLst>
              <p:ext uri="{D42A27DB-BD31-4B8C-83A1-F6EECF244321}">
                <p14:modId xmlns:p14="http://schemas.microsoft.com/office/powerpoint/2010/main" val="356418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D1934C84-05B0-4B49-940A-504877AAAD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GB" smtClean="0"/>
              <a:pPr rtl="0"/>
              <a:t>‹nr.›</a:t>
            </a:fld>
            <a:r>
              <a:rPr lang="ro"/>
              <a:t> -</a:t>
            </a:r>
          </a:p>
        </p:txBody>
      </p:sp>
      <p:sp>
        <p:nvSpPr>
          <p:cNvPr id="2" name="Titel 1">
            <a:extLst>
              <a:ext uri="{FF2B5EF4-FFF2-40B4-BE49-F238E27FC236}">
                <a16:creationId xmlns:a16="http://schemas.microsoft.com/office/drawing/2014/main" id="{719513F2-6D16-4B30-B277-DA93AABE2D32}"/>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ro" noProof="0"/>
              <a:t>Agenda, Arial Narrow 24 pt</a:t>
            </a:r>
          </a:p>
        </p:txBody>
      </p:sp>
      <p:sp>
        <p:nvSpPr>
          <p:cNvPr id="23" name="Textplatzhalter 6">
            <a:extLst>
              <a:ext uri="{FF2B5EF4-FFF2-40B4-BE49-F238E27FC236}">
                <a16:creationId xmlns:a16="http://schemas.microsoft.com/office/drawing/2014/main" id="{FB4BDA10-237F-455B-8AA5-496BDB921B76}"/>
              </a:ext>
            </a:extLst>
          </p:cNvPr>
          <p:cNvSpPr>
            <a:spLocks noGrp="1"/>
          </p:cNvSpPr>
          <p:nvPr>
            <p:ph type="body" sz="quarter" idx="30"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ro" noProof="0"/>
              <a:t>Subheading, Arial Regular 14 pt</a:t>
            </a:r>
          </a:p>
        </p:txBody>
      </p:sp>
      <p:sp>
        <p:nvSpPr>
          <p:cNvPr id="42" name="Textplatzhalter 6">
            <a:extLst>
              <a:ext uri="{FF2B5EF4-FFF2-40B4-BE49-F238E27FC236}">
                <a16:creationId xmlns:a16="http://schemas.microsoft.com/office/drawing/2014/main" id="{4F7DE801-8810-45FA-BC4C-E8D6B540B0A0}"/>
              </a:ext>
            </a:extLst>
          </p:cNvPr>
          <p:cNvSpPr>
            <a:spLocks noGrp="1"/>
          </p:cNvSpPr>
          <p:nvPr>
            <p:ph type="body" sz="quarter" idx="13" hasCustomPrompt="1"/>
          </p:nvPr>
        </p:nvSpPr>
        <p:spPr>
          <a:xfrm>
            <a:off x="633413" y="13863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43" name="Textplatzhalter 6">
            <a:extLst>
              <a:ext uri="{FF2B5EF4-FFF2-40B4-BE49-F238E27FC236}">
                <a16:creationId xmlns:a16="http://schemas.microsoft.com/office/drawing/2014/main" id="{603B8832-9095-42BE-89DB-217ED5F0A479}"/>
              </a:ext>
            </a:extLst>
          </p:cNvPr>
          <p:cNvSpPr>
            <a:spLocks noGrp="1"/>
          </p:cNvSpPr>
          <p:nvPr>
            <p:ph type="body" sz="quarter" idx="14" hasCustomPrompt="1"/>
          </p:nvPr>
        </p:nvSpPr>
        <p:spPr>
          <a:xfrm>
            <a:off x="1019175" y="13863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44" name="Textplatzhalter 6">
            <a:extLst>
              <a:ext uri="{FF2B5EF4-FFF2-40B4-BE49-F238E27FC236}">
                <a16:creationId xmlns:a16="http://schemas.microsoft.com/office/drawing/2014/main" id="{25AAB68D-2E26-460B-85F0-48A42CED353D}"/>
              </a:ext>
            </a:extLst>
          </p:cNvPr>
          <p:cNvSpPr>
            <a:spLocks noGrp="1"/>
          </p:cNvSpPr>
          <p:nvPr>
            <p:ph type="body" sz="quarter" idx="16" hasCustomPrompt="1"/>
          </p:nvPr>
        </p:nvSpPr>
        <p:spPr>
          <a:xfrm>
            <a:off x="1019175" y="5533844"/>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45" name="Textplatzhalter 6">
            <a:extLst>
              <a:ext uri="{FF2B5EF4-FFF2-40B4-BE49-F238E27FC236}">
                <a16:creationId xmlns:a16="http://schemas.microsoft.com/office/drawing/2014/main" id="{6744C747-60B1-43A3-813A-4A3D30BCBD85}"/>
              </a:ext>
            </a:extLst>
          </p:cNvPr>
          <p:cNvSpPr>
            <a:spLocks noGrp="1"/>
          </p:cNvSpPr>
          <p:nvPr>
            <p:ph type="body" sz="quarter" idx="17" hasCustomPrompt="1"/>
          </p:nvPr>
        </p:nvSpPr>
        <p:spPr>
          <a:xfrm>
            <a:off x="633413" y="55338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46" name="Textplatzhalter 6">
            <a:extLst>
              <a:ext uri="{FF2B5EF4-FFF2-40B4-BE49-F238E27FC236}">
                <a16:creationId xmlns:a16="http://schemas.microsoft.com/office/drawing/2014/main" id="{D4343A3A-6456-43E4-A2B3-5C7FDDDC28EE}"/>
              </a:ext>
            </a:extLst>
          </p:cNvPr>
          <p:cNvSpPr>
            <a:spLocks noGrp="1"/>
          </p:cNvSpPr>
          <p:nvPr>
            <p:ph type="body" sz="quarter" idx="18" hasCustomPrompt="1"/>
          </p:nvPr>
        </p:nvSpPr>
        <p:spPr>
          <a:xfrm>
            <a:off x="1019175" y="22158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47" name="Textplatzhalter 6">
            <a:extLst>
              <a:ext uri="{FF2B5EF4-FFF2-40B4-BE49-F238E27FC236}">
                <a16:creationId xmlns:a16="http://schemas.microsoft.com/office/drawing/2014/main" id="{ECB6FA10-DF93-4B5D-BDF6-073474269E4D}"/>
              </a:ext>
            </a:extLst>
          </p:cNvPr>
          <p:cNvSpPr>
            <a:spLocks noGrp="1"/>
          </p:cNvSpPr>
          <p:nvPr>
            <p:ph type="body" sz="quarter" idx="19" hasCustomPrompt="1"/>
          </p:nvPr>
        </p:nvSpPr>
        <p:spPr>
          <a:xfrm>
            <a:off x="633413" y="22158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48" name="Textplatzhalter 6">
            <a:extLst>
              <a:ext uri="{FF2B5EF4-FFF2-40B4-BE49-F238E27FC236}">
                <a16:creationId xmlns:a16="http://schemas.microsoft.com/office/drawing/2014/main" id="{18A9B079-5EBF-44DD-813A-770B71EDF655}"/>
              </a:ext>
            </a:extLst>
          </p:cNvPr>
          <p:cNvSpPr>
            <a:spLocks noGrp="1"/>
          </p:cNvSpPr>
          <p:nvPr>
            <p:ph type="body" sz="quarter" idx="20" hasCustomPrompt="1"/>
          </p:nvPr>
        </p:nvSpPr>
        <p:spPr>
          <a:xfrm>
            <a:off x="1019175" y="30453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49" name="Textplatzhalter 6">
            <a:extLst>
              <a:ext uri="{FF2B5EF4-FFF2-40B4-BE49-F238E27FC236}">
                <a16:creationId xmlns:a16="http://schemas.microsoft.com/office/drawing/2014/main" id="{06BD0A8A-0AF9-4EF6-B828-8C21EECFCFCF}"/>
              </a:ext>
            </a:extLst>
          </p:cNvPr>
          <p:cNvSpPr>
            <a:spLocks noGrp="1"/>
          </p:cNvSpPr>
          <p:nvPr>
            <p:ph type="body" sz="quarter" idx="21" hasCustomPrompt="1"/>
          </p:nvPr>
        </p:nvSpPr>
        <p:spPr>
          <a:xfrm>
            <a:off x="633413" y="38748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50" name="Textplatzhalter 6">
            <a:extLst>
              <a:ext uri="{FF2B5EF4-FFF2-40B4-BE49-F238E27FC236}">
                <a16:creationId xmlns:a16="http://schemas.microsoft.com/office/drawing/2014/main" id="{AFF09919-7051-4DEC-B545-A2ABBBB9CD7D}"/>
              </a:ext>
            </a:extLst>
          </p:cNvPr>
          <p:cNvSpPr>
            <a:spLocks noGrp="1"/>
          </p:cNvSpPr>
          <p:nvPr>
            <p:ph type="body" sz="quarter" idx="32" hasCustomPrompt="1"/>
          </p:nvPr>
        </p:nvSpPr>
        <p:spPr>
          <a:xfrm>
            <a:off x="1019175" y="38748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51" name="Textplatzhalter 6">
            <a:extLst>
              <a:ext uri="{FF2B5EF4-FFF2-40B4-BE49-F238E27FC236}">
                <a16:creationId xmlns:a16="http://schemas.microsoft.com/office/drawing/2014/main" id="{F85B89BD-7B5D-487F-AA31-8A50D42ABC9A}"/>
              </a:ext>
            </a:extLst>
          </p:cNvPr>
          <p:cNvSpPr>
            <a:spLocks noGrp="1"/>
          </p:cNvSpPr>
          <p:nvPr>
            <p:ph type="body" sz="quarter" idx="33" hasCustomPrompt="1"/>
          </p:nvPr>
        </p:nvSpPr>
        <p:spPr>
          <a:xfrm>
            <a:off x="1019175" y="47043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52" name="Textplatzhalter 6">
            <a:extLst>
              <a:ext uri="{FF2B5EF4-FFF2-40B4-BE49-F238E27FC236}">
                <a16:creationId xmlns:a16="http://schemas.microsoft.com/office/drawing/2014/main" id="{A18A54A3-537E-499B-8B0B-4BA0B8425359}"/>
              </a:ext>
            </a:extLst>
          </p:cNvPr>
          <p:cNvSpPr>
            <a:spLocks noGrp="1"/>
          </p:cNvSpPr>
          <p:nvPr>
            <p:ph type="body" sz="quarter" idx="34" hasCustomPrompt="1"/>
          </p:nvPr>
        </p:nvSpPr>
        <p:spPr>
          <a:xfrm>
            <a:off x="633413" y="47043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53" name="Textplatzhalter 6">
            <a:extLst>
              <a:ext uri="{FF2B5EF4-FFF2-40B4-BE49-F238E27FC236}">
                <a16:creationId xmlns:a16="http://schemas.microsoft.com/office/drawing/2014/main" id="{8F61C44E-C8A5-4FF1-9763-650588FE39FC}"/>
              </a:ext>
            </a:extLst>
          </p:cNvPr>
          <p:cNvSpPr>
            <a:spLocks noGrp="1"/>
          </p:cNvSpPr>
          <p:nvPr>
            <p:ph type="body" sz="quarter" idx="35" hasCustomPrompt="1"/>
          </p:nvPr>
        </p:nvSpPr>
        <p:spPr>
          <a:xfrm>
            <a:off x="633413" y="30453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Tree>
    <p:custDataLst>
      <p:tags r:id="rId2"/>
    </p:custDataLst>
    <p:extLst>
      <p:ext uri="{BB962C8B-B14F-4D97-AF65-F5344CB8AC3E}">
        <p14:creationId xmlns:p14="http://schemas.microsoft.com/office/powerpoint/2010/main" val="812682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with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75C3BDB-B576-48B2-AE93-49CDFF05BF17}"/>
              </a:ext>
            </a:extLst>
          </p:cNvPr>
          <p:cNvGraphicFramePr>
            <a:graphicFrameLocks noChangeAspect="1"/>
          </p:cNvGraphicFramePr>
          <p:nvPr userDrawn="1">
            <p:custDataLst>
              <p:tags r:id="rId3"/>
            </p:custDataLst>
            <p:extLst>
              <p:ext uri="{D42A27DB-BD31-4B8C-83A1-F6EECF244321}">
                <p14:modId xmlns:p14="http://schemas.microsoft.com/office/powerpoint/2010/main" val="25544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575C3BDB-B576-48B2-AE93-49CDFF05BF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ro"/>
              <a:t>- </a:t>
            </a:r>
            <a:fld id="{94A6D44E-0BF8-4A10-A708-3AB32E33FA71}" type="slidenum">
              <a:rPr lang="en-GB" smtClean="0"/>
              <a:pPr rtl="0"/>
              <a:t>‹nr.›</a:t>
            </a:fld>
            <a:r>
              <a:rPr lang="ro"/>
              <a:t> -</a:t>
            </a:r>
          </a:p>
        </p:txBody>
      </p:sp>
      <p:sp>
        <p:nvSpPr>
          <p:cNvPr id="6" name="Bildplatzhalter 5">
            <a:extLst>
              <a:ext uri="{FF2B5EF4-FFF2-40B4-BE49-F238E27FC236}">
                <a16:creationId xmlns:a16="http://schemas.microsoft.com/office/drawing/2014/main" id="{3F34F986-39A7-46A4-A304-4191AEF775EB}"/>
              </a:ext>
            </a:extLst>
          </p:cNvPr>
          <p:cNvSpPr>
            <a:spLocks noGrp="1"/>
          </p:cNvSpPr>
          <p:nvPr>
            <p:ph type="pic" sz="quarter" idx="30" hasCustomPrompt="1"/>
          </p:nvPr>
        </p:nvSpPr>
        <p:spPr>
          <a:xfrm>
            <a:off x="6210300" y="1268411"/>
            <a:ext cx="5724126" cy="5075237"/>
          </a:xfrm>
          <a:solidFill>
            <a:schemeClr val="bg2"/>
          </a:solidFill>
        </p:spPr>
        <p:txBody>
          <a:bodyPr tIns="0" rtlCol="0" anchor="ctr" anchorCtr="0"/>
          <a:lstStyle>
            <a:lvl1pPr marL="0" indent="0" algn="ctr" rtl="0">
              <a:buNone/>
              <a:defRPr b="0"/>
            </a:lvl1pPr>
          </a:lstStyle>
          <a:p>
            <a:pPr rtl="0"/>
            <a:r>
              <a:rPr lang="ro" noProof="0"/>
              <a:t>Please insert an image</a:t>
            </a:r>
            <a:br>
              <a:rPr lang="en-GB" noProof="0"/>
            </a:br>
            <a:br>
              <a:rPr lang="en-GB" noProof="0"/>
            </a:br>
            <a:br>
              <a:rPr lang="en-GB" noProof="0"/>
            </a:br>
            <a:br>
              <a:rPr lang="en-GB" noProof="0"/>
            </a:br>
            <a:endParaRPr lang="en-GB" noProof="0"/>
          </a:p>
        </p:txBody>
      </p:sp>
      <p:sp>
        <p:nvSpPr>
          <p:cNvPr id="2" name="Titel 1">
            <a:extLst>
              <a:ext uri="{FF2B5EF4-FFF2-40B4-BE49-F238E27FC236}">
                <a16:creationId xmlns:a16="http://schemas.microsoft.com/office/drawing/2014/main" id="{282A6072-B13B-43BA-A79F-CF97EEA980DF}"/>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ro"/>
              <a:t>Agenda with picture, </a:t>
            </a:r>
            <a:r>
              <a:rPr lang="ro" noProof="0"/>
              <a:t>Arial Narrow 24 pt</a:t>
            </a:r>
          </a:p>
        </p:txBody>
      </p:sp>
      <p:sp>
        <p:nvSpPr>
          <p:cNvPr id="20" name="Textplatzhalter 6">
            <a:extLst>
              <a:ext uri="{FF2B5EF4-FFF2-40B4-BE49-F238E27FC236}">
                <a16:creationId xmlns:a16="http://schemas.microsoft.com/office/drawing/2014/main" id="{9279E223-46F6-4E19-8B22-F889A9818D8A}"/>
              </a:ext>
            </a:extLst>
          </p:cNvPr>
          <p:cNvSpPr>
            <a:spLocks noGrp="1"/>
          </p:cNvSpPr>
          <p:nvPr>
            <p:ph type="body" sz="quarter" idx="31"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ro" noProof="0"/>
              <a:t>Subheading, Arial Regular 14 pt</a:t>
            </a:r>
          </a:p>
        </p:txBody>
      </p:sp>
      <p:sp>
        <p:nvSpPr>
          <p:cNvPr id="21" name="Textplatzhalter 6">
            <a:extLst>
              <a:ext uri="{FF2B5EF4-FFF2-40B4-BE49-F238E27FC236}">
                <a16:creationId xmlns:a16="http://schemas.microsoft.com/office/drawing/2014/main" id="{29FC78D0-1F5F-45CE-9E25-4B3F99739EC1}"/>
              </a:ext>
            </a:extLst>
          </p:cNvPr>
          <p:cNvSpPr>
            <a:spLocks noGrp="1"/>
          </p:cNvSpPr>
          <p:nvPr>
            <p:ph type="body" sz="quarter" idx="13" hasCustomPrompt="1"/>
          </p:nvPr>
        </p:nvSpPr>
        <p:spPr>
          <a:xfrm>
            <a:off x="633413" y="13863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24" name="Textplatzhalter 6">
            <a:extLst>
              <a:ext uri="{FF2B5EF4-FFF2-40B4-BE49-F238E27FC236}">
                <a16:creationId xmlns:a16="http://schemas.microsoft.com/office/drawing/2014/main" id="{8D91C1AB-433E-43D5-B652-FF20FA6FFD24}"/>
              </a:ext>
            </a:extLst>
          </p:cNvPr>
          <p:cNvSpPr>
            <a:spLocks noGrp="1"/>
          </p:cNvSpPr>
          <p:nvPr>
            <p:ph type="body" sz="quarter" idx="14" hasCustomPrompt="1"/>
          </p:nvPr>
        </p:nvSpPr>
        <p:spPr>
          <a:xfrm>
            <a:off x="1019175" y="13863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25" name="Textplatzhalter 6">
            <a:extLst>
              <a:ext uri="{FF2B5EF4-FFF2-40B4-BE49-F238E27FC236}">
                <a16:creationId xmlns:a16="http://schemas.microsoft.com/office/drawing/2014/main" id="{C69CE896-E8D6-4807-B676-5834EF70E735}"/>
              </a:ext>
            </a:extLst>
          </p:cNvPr>
          <p:cNvSpPr>
            <a:spLocks noGrp="1"/>
          </p:cNvSpPr>
          <p:nvPr>
            <p:ph type="body" sz="quarter" idx="16" hasCustomPrompt="1"/>
          </p:nvPr>
        </p:nvSpPr>
        <p:spPr>
          <a:xfrm>
            <a:off x="1019175" y="5533844"/>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28" name="Textplatzhalter 6">
            <a:extLst>
              <a:ext uri="{FF2B5EF4-FFF2-40B4-BE49-F238E27FC236}">
                <a16:creationId xmlns:a16="http://schemas.microsoft.com/office/drawing/2014/main" id="{92FD54BD-62E7-4A80-8154-40F8B4858DB1}"/>
              </a:ext>
            </a:extLst>
          </p:cNvPr>
          <p:cNvSpPr>
            <a:spLocks noGrp="1"/>
          </p:cNvSpPr>
          <p:nvPr>
            <p:ph type="body" sz="quarter" idx="17" hasCustomPrompt="1"/>
          </p:nvPr>
        </p:nvSpPr>
        <p:spPr>
          <a:xfrm>
            <a:off x="633413" y="55338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29" name="Textplatzhalter 6">
            <a:extLst>
              <a:ext uri="{FF2B5EF4-FFF2-40B4-BE49-F238E27FC236}">
                <a16:creationId xmlns:a16="http://schemas.microsoft.com/office/drawing/2014/main" id="{D3003A34-8F08-4C69-B393-CAE2F63B4878}"/>
              </a:ext>
            </a:extLst>
          </p:cNvPr>
          <p:cNvSpPr>
            <a:spLocks noGrp="1"/>
          </p:cNvSpPr>
          <p:nvPr>
            <p:ph type="body" sz="quarter" idx="18" hasCustomPrompt="1"/>
          </p:nvPr>
        </p:nvSpPr>
        <p:spPr>
          <a:xfrm>
            <a:off x="1019175" y="22158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30" name="Textplatzhalter 6">
            <a:extLst>
              <a:ext uri="{FF2B5EF4-FFF2-40B4-BE49-F238E27FC236}">
                <a16:creationId xmlns:a16="http://schemas.microsoft.com/office/drawing/2014/main" id="{EDB02208-D528-4FCB-A4C1-9CB7F7F663D6}"/>
              </a:ext>
            </a:extLst>
          </p:cNvPr>
          <p:cNvSpPr>
            <a:spLocks noGrp="1"/>
          </p:cNvSpPr>
          <p:nvPr>
            <p:ph type="body" sz="quarter" idx="19" hasCustomPrompt="1"/>
          </p:nvPr>
        </p:nvSpPr>
        <p:spPr>
          <a:xfrm>
            <a:off x="633413" y="22158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31" name="Textplatzhalter 6">
            <a:extLst>
              <a:ext uri="{FF2B5EF4-FFF2-40B4-BE49-F238E27FC236}">
                <a16:creationId xmlns:a16="http://schemas.microsoft.com/office/drawing/2014/main" id="{B1C723DB-3B59-4B97-88C7-483B7D894A74}"/>
              </a:ext>
            </a:extLst>
          </p:cNvPr>
          <p:cNvSpPr>
            <a:spLocks noGrp="1"/>
          </p:cNvSpPr>
          <p:nvPr>
            <p:ph type="body" sz="quarter" idx="20" hasCustomPrompt="1"/>
          </p:nvPr>
        </p:nvSpPr>
        <p:spPr>
          <a:xfrm>
            <a:off x="1019175" y="30453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32" name="Textplatzhalter 6">
            <a:extLst>
              <a:ext uri="{FF2B5EF4-FFF2-40B4-BE49-F238E27FC236}">
                <a16:creationId xmlns:a16="http://schemas.microsoft.com/office/drawing/2014/main" id="{7AFF0EE7-3A49-4A17-9409-B33B8EBA47FB}"/>
              </a:ext>
            </a:extLst>
          </p:cNvPr>
          <p:cNvSpPr>
            <a:spLocks noGrp="1"/>
          </p:cNvSpPr>
          <p:nvPr>
            <p:ph type="body" sz="quarter" idx="21" hasCustomPrompt="1"/>
          </p:nvPr>
        </p:nvSpPr>
        <p:spPr>
          <a:xfrm>
            <a:off x="633413" y="38748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41" name="Textplatzhalter 6">
            <a:extLst>
              <a:ext uri="{FF2B5EF4-FFF2-40B4-BE49-F238E27FC236}">
                <a16:creationId xmlns:a16="http://schemas.microsoft.com/office/drawing/2014/main" id="{D6335046-619F-4466-B53B-C804BFBAB279}"/>
              </a:ext>
            </a:extLst>
          </p:cNvPr>
          <p:cNvSpPr>
            <a:spLocks noGrp="1"/>
          </p:cNvSpPr>
          <p:nvPr>
            <p:ph type="body" sz="quarter" idx="32" hasCustomPrompt="1"/>
          </p:nvPr>
        </p:nvSpPr>
        <p:spPr>
          <a:xfrm>
            <a:off x="1019175" y="38748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42" name="Textplatzhalter 6">
            <a:extLst>
              <a:ext uri="{FF2B5EF4-FFF2-40B4-BE49-F238E27FC236}">
                <a16:creationId xmlns:a16="http://schemas.microsoft.com/office/drawing/2014/main" id="{6EA500B1-372A-4A93-BE34-CBDE7C0A37DB}"/>
              </a:ext>
            </a:extLst>
          </p:cNvPr>
          <p:cNvSpPr>
            <a:spLocks noGrp="1"/>
          </p:cNvSpPr>
          <p:nvPr>
            <p:ph type="body" sz="quarter" idx="33" hasCustomPrompt="1"/>
          </p:nvPr>
        </p:nvSpPr>
        <p:spPr>
          <a:xfrm>
            <a:off x="1019175" y="4704346"/>
            <a:ext cx="4575536" cy="630942"/>
          </a:xfrm>
        </p:spPr>
        <p:txBody>
          <a:bodyPr wrap="none" rtlCol="0" anchor="t" anchorCtr="0">
            <a:noAutofit/>
          </a:bodyPr>
          <a:lstStyle>
            <a:lvl1pPr marL="0" indent="0" rtl="0">
              <a:buNone/>
              <a:defRPr sz="1800" b="0"/>
            </a:lvl1pPr>
          </a:lstStyle>
          <a:p>
            <a:pPr lvl="0" rtl="0"/>
            <a:r>
              <a:rPr lang="ro" noProof="0"/>
              <a:t>Chapter name</a:t>
            </a:r>
            <a:br>
              <a:rPr lang="en-GB" noProof="0"/>
            </a:br>
            <a:r>
              <a:rPr lang="ro" noProof="0"/>
              <a:t>Two lines possible</a:t>
            </a:r>
          </a:p>
        </p:txBody>
      </p:sp>
      <p:sp>
        <p:nvSpPr>
          <p:cNvPr id="43" name="Textplatzhalter 6">
            <a:extLst>
              <a:ext uri="{FF2B5EF4-FFF2-40B4-BE49-F238E27FC236}">
                <a16:creationId xmlns:a16="http://schemas.microsoft.com/office/drawing/2014/main" id="{2AA03520-112B-40A6-AA8C-99DE9229A75C}"/>
              </a:ext>
            </a:extLst>
          </p:cNvPr>
          <p:cNvSpPr>
            <a:spLocks noGrp="1"/>
          </p:cNvSpPr>
          <p:nvPr>
            <p:ph type="body" sz="quarter" idx="34" hasCustomPrompt="1"/>
          </p:nvPr>
        </p:nvSpPr>
        <p:spPr>
          <a:xfrm>
            <a:off x="633413" y="47043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
        <p:nvSpPr>
          <p:cNvPr id="44" name="Textplatzhalter 6">
            <a:extLst>
              <a:ext uri="{FF2B5EF4-FFF2-40B4-BE49-F238E27FC236}">
                <a16:creationId xmlns:a16="http://schemas.microsoft.com/office/drawing/2014/main" id="{BDFA1BFD-CD21-4757-AB17-A1399B67427E}"/>
              </a:ext>
            </a:extLst>
          </p:cNvPr>
          <p:cNvSpPr>
            <a:spLocks noGrp="1"/>
          </p:cNvSpPr>
          <p:nvPr>
            <p:ph type="body" sz="quarter" idx="35" hasCustomPrompt="1"/>
          </p:nvPr>
        </p:nvSpPr>
        <p:spPr>
          <a:xfrm>
            <a:off x="633413" y="3045346"/>
            <a:ext cx="260931" cy="276999"/>
          </a:xfrm>
        </p:spPr>
        <p:txBody>
          <a:bodyPr wrap="square" rtlCol="0">
            <a:spAutoFit/>
          </a:bodyPr>
          <a:lstStyle>
            <a:lvl1pPr marL="0" indent="0" algn="r" rtl="0">
              <a:buNone/>
              <a:defRPr sz="1800" b="1">
                <a:solidFill>
                  <a:schemeClr val="accent5"/>
                </a:solidFill>
              </a:defRPr>
            </a:lvl1pPr>
          </a:lstStyle>
          <a:p>
            <a:pPr lvl="0" rtl="0"/>
            <a:r>
              <a:rPr lang="ro" noProof="0"/>
              <a:t>X</a:t>
            </a:r>
          </a:p>
        </p:txBody>
      </p:sp>
    </p:spTree>
    <p:custDataLst>
      <p:tags r:id="rId2"/>
    </p:custDataLst>
    <p:extLst>
      <p:ext uri="{BB962C8B-B14F-4D97-AF65-F5344CB8AC3E}">
        <p14:creationId xmlns:p14="http://schemas.microsoft.com/office/powerpoint/2010/main" val="839407789"/>
      </p:ext>
    </p:extLst>
  </p:cSld>
  <p:clrMapOvr>
    <a:masterClrMapping/>
  </p:clrMapOvr>
  <p:extLst>
    <p:ext uri="{DCECCB84-F9BA-43D5-87BE-67443E8EF086}">
      <p15:sldGuideLst xmlns:p15="http://schemas.microsoft.com/office/powerpoint/2012/main">
        <p15:guide id="1" pos="391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504303759"/>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024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 name="Textplatzhalter 3"/>
          <p:cNvSpPr>
            <a:spLocks noGrp="1"/>
          </p:cNvSpPr>
          <p:nvPr userDrawn="1">
            <p:ph type="body" sz="quarter" idx="10" hasCustomPrompt="1"/>
          </p:nvPr>
        </p:nvSpPr>
        <p:spPr>
          <a:xfrm>
            <a:off x="519114" y="3852316"/>
            <a:ext cx="11418886" cy="553998"/>
          </a:xfrm>
          <a:noFill/>
        </p:spPr>
        <p:txBody>
          <a:bodyPr wrap="square" lIns="0" tIns="0" rIns="0" bIns="0" rtlCol="0">
            <a:spAutoFit/>
          </a:bodyPr>
          <a:lstStyle>
            <a:lvl1pPr marL="0" indent="0" rtl="0">
              <a:buNone/>
              <a:defRPr sz="3600" b="0" cap="none" baseline="0">
                <a:solidFill>
                  <a:schemeClr val="tx1"/>
                </a:solidFill>
                <a:latin typeface="+mj-lt"/>
              </a:defRPr>
            </a:lvl1pPr>
          </a:lstStyle>
          <a:p>
            <a:pPr lvl="0" rtl="0"/>
            <a:r>
              <a:rPr lang="ro" noProof="0"/>
              <a:t>Chapter slide, Arial Narrow 36 pt</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Tree>
    <p:custDataLst>
      <p:tags r:id="rId2"/>
    </p:custDataLst>
    <p:extLst>
      <p:ext uri="{BB962C8B-B14F-4D97-AF65-F5344CB8AC3E}">
        <p14:creationId xmlns:p14="http://schemas.microsoft.com/office/powerpoint/2010/main" val="4073171372"/>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62"/>
            </p:custDataLst>
            <p:extLst>
              <p:ext uri="{D42A27DB-BD31-4B8C-83A1-F6EECF244321}">
                <p14:modId xmlns:p14="http://schemas.microsoft.com/office/powerpoint/2010/main" val="90246915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031" name="think-cell Folie" r:id="rId63" imgW="270" imgH="270" progId="TCLayout.ActiveDocument.1">
                  <p:embed/>
                </p:oleObj>
              </mc:Choice>
              <mc:Fallback>
                <p:oleObj name="think-cell Folie" r:id="rId63" imgW="270" imgH="270" progId="TCLayout.ActiveDocument.1">
                  <p:embed/>
                  <p:pic>
                    <p:nvPicPr>
                      <p:cNvPr id="11" name="Objekt 10" hidden="1"/>
                      <p:cNvPicPr/>
                      <p:nvPr/>
                    </p:nvPicPr>
                    <p:blipFill>
                      <a:blip r:embed="rId64"/>
                      <a:stretch>
                        <a:fillRect/>
                      </a:stretch>
                    </p:blipFill>
                    <p:spPr>
                      <a:xfrm>
                        <a:off x="2119" y="1589"/>
                        <a:ext cx="2117" cy="1587"/>
                      </a:xfrm>
                      <a:prstGeom prst="rect">
                        <a:avLst/>
                      </a:prstGeom>
                    </p:spPr>
                  </p:pic>
                </p:oleObj>
              </mc:Fallback>
            </mc:AlternateContent>
          </a:graphicData>
        </a:graphic>
      </p:graphicFrame>
      <p:sp>
        <p:nvSpPr>
          <p:cNvPr id="10" name="Titelplatzhalter 9"/>
          <p:cNvSpPr>
            <a:spLocks noGrp="1"/>
          </p:cNvSpPr>
          <p:nvPr>
            <p:ph type="title"/>
          </p:nvPr>
        </p:nvSpPr>
        <p:spPr>
          <a:xfrm>
            <a:off x="268289" y="624807"/>
            <a:ext cx="9682162" cy="369332"/>
          </a:xfrm>
          <a:prstGeom prst="rect">
            <a:avLst/>
          </a:prstGeom>
        </p:spPr>
        <p:txBody>
          <a:bodyPr vert="horz" wrap="square" lIns="0" tIns="0" rIns="0" bIns="0" rtlCol="0" anchor="t">
            <a:spAutoFit/>
          </a:bodyPr>
          <a:lstStyle/>
          <a:p>
            <a:pPr rtl="0"/>
            <a:r>
              <a:rPr lang="ro"/>
              <a:t>Agenda, Arial Narrow 24pt</a:t>
            </a:r>
          </a:p>
        </p:txBody>
      </p:sp>
      <p:sp>
        <p:nvSpPr>
          <p:cNvPr id="13" name="Textplatzhalter 12"/>
          <p:cNvSpPr>
            <a:spLocks noGrp="1"/>
          </p:cNvSpPr>
          <p:nvPr>
            <p:ph type="body" idx="1"/>
          </p:nvPr>
        </p:nvSpPr>
        <p:spPr>
          <a:xfrm>
            <a:off x="269877" y="1270158"/>
            <a:ext cx="11668123" cy="5073492"/>
          </a:xfrm>
          <a:prstGeom prst="rect">
            <a:avLst/>
          </a:prstGeom>
        </p:spPr>
        <p:txBody>
          <a:bodyPr vert="horz" lIns="0" tIns="0" rIns="0" bIns="0" rtlCol="0">
            <a:normAutofit/>
          </a:bodyPr>
          <a:lstStyle/>
          <a:p>
            <a:pPr lvl="0" rtl="0"/>
            <a:r>
              <a:rPr lang="ro"/>
              <a:t>Content text, Arial Regular 14pt</a:t>
            </a:r>
          </a:p>
          <a:p>
            <a:pPr lvl="1" rtl="0"/>
            <a:r>
              <a:rPr lang="ro"/>
              <a:t>Content bullet, Arial Regular 14pt </a:t>
            </a:r>
          </a:p>
          <a:p>
            <a:pPr lvl="2" rtl="0"/>
            <a:r>
              <a:rPr lang="ro"/>
              <a:t>Content bullet</a:t>
            </a:r>
            <a:endParaRPr lang="en-US" noProof="0"/>
          </a:p>
          <a:p>
            <a:pPr lvl="3" rtl="0"/>
            <a:r>
              <a:rPr lang="ro"/>
              <a:t>Content bullet</a:t>
            </a:r>
            <a:endParaRPr lang="en-US" noProof="0"/>
          </a:p>
          <a:p>
            <a:pPr lvl="4" rtl="0"/>
            <a:r>
              <a:rPr lang="ro"/>
              <a:t>Content bullet</a:t>
            </a:r>
            <a:endParaRPr lang="en-US" noProof="0"/>
          </a:p>
        </p:txBody>
      </p:sp>
      <p:sp>
        <p:nvSpPr>
          <p:cNvPr id="14" name="Datumsplatzhalter 13"/>
          <p:cNvSpPr>
            <a:spLocks noGrp="1"/>
          </p:cNvSpPr>
          <p:nvPr>
            <p:ph type="dt" sz="half" idx="2"/>
          </p:nvPr>
        </p:nvSpPr>
        <p:spPr>
          <a:xfrm>
            <a:off x="10823421" y="6643445"/>
            <a:ext cx="1111005" cy="123111"/>
          </a:xfrm>
          <a:prstGeom prst="rect">
            <a:avLst/>
          </a:prstGeom>
        </p:spPr>
        <p:txBody>
          <a:bodyPr vert="horz" lIns="0" tIns="0" rIns="0" bIns="0" rtlCol="0" anchor="t">
            <a:noAutofit/>
          </a:bodyPr>
          <a:lstStyle>
            <a:lvl1pPr algn="r" rtl="0">
              <a:defRPr sz="800">
                <a:solidFill>
                  <a:srgbClr val="5E5E5E"/>
                </a:solidFill>
                <a:latin typeface="Arial" panose="020B0604020202020204" pitchFamily="34" charset="0"/>
                <a:cs typeface="Arial" panose="020B0604020202020204" pitchFamily="34" charset="0"/>
              </a:defRPr>
            </a:lvl1pPr>
          </a:lstStyle>
          <a:p>
            <a:pPr rtl="0"/>
            <a:endParaRPr lang="en-US"/>
          </a:p>
        </p:txBody>
      </p:sp>
      <p:sp>
        <p:nvSpPr>
          <p:cNvPr id="17" name="Fußzeilenplatzhalter 16"/>
          <p:cNvSpPr>
            <a:spLocks noGrp="1"/>
          </p:cNvSpPr>
          <p:nvPr>
            <p:ph type="ftr" sz="quarter" idx="3"/>
          </p:nvPr>
        </p:nvSpPr>
        <p:spPr>
          <a:xfrm>
            <a:off x="269878" y="6643445"/>
            <a:ext cx="5068886" cy="123111"/>
          </a:xfrm>
          <a:prstGeom prst="rect">
            <a:avLst/>
          </a:prstGeom>
        </p:spPr>
        <p:txBody>
          <a:bodyPr vert="horz" lIns="0" tIns="0" rIns="0" bIns="0" rtlCol="0" anchor="t">
            <a:noAutofit/>
          </a:bodyPr>
          <a:lstStyle>
            <a:lvl1pPr algn="l" rtl="0">
              <a:defRPr sz="800">
                <a:solidFill>
                  <a:srgbClr val="5E5E5E"/>
                </a:solidFill>
                <a:latin typeface="Arial" panose="020B0604020202020204" pitchFamily="34" charset="0"/>
                <a:cs typeface="Arial" panose="020B0604020202020204" pitchFamily="34" charset="0"/>
              </a:defRPr>
            </a:lvl1pPr>
          </a:lstStyle>
          <a:p>
            <a:pPr rtl="0"/>
            <a:endParaRPr lang="en-US"/>
          </a:p>
        </p:txBody>
      </p:sp>
      <p:sp>
        <p:nvSpPr>
          <p:cNvPr id="18" name="Foliennummernplatzhalter 17"/>
          <p:cNvSpPr>
            <a:spLocks noGrp="1"/>
          </p:cNvSpPr>
          <p:nvPr>
            <p:ph type="sldNum" sz="quarter" idx="4"/>
          </p:nvPr>
        </p:nvSpPr>
        <p:spPr>
          <a:xfrm>
            <a:off x="8200799" y="6643445"/>
            <a:ext cx="429245" cy="123111"/>
          </a:xfrm>
          <a:prstGeom prst="rect">
            <a:avLst/>
          </a:prstGeom>
        </p:spPr>
        <p:txBody>
          <a:bodyPr vert="horz" lIns="0" tIns="0" rIns="0" bIns="0" rtlCol="0" anchor="t">
            <a:noAutofit/>
          </a:bodyPr>
          <a:lstStyle>
            <a:lvl1pPr algn="l" rtl="0">
              <a:defRPr sz="800">
                <a:solidFill>
                  <a:srgbClr val="5E5E5E"/>
                </a:solidFill>
                <a:latin typeface="Arial" panose="020B0604020202020204" pitchFamily="34" charset="0"/>
                <a:cs typeface="Arial" panose="020B0604020202020204" pitchFamily="34" charset="0"/>
              </a:defRPr>
            </a:lvl1pPr>
          </a:lstStyle>
          <a:p>
            <a:pPr rtl="0"/>
            <a:r>
              <a:rPr lang="ro"/>
              <a:t>- </a:t>
            </a:r>
            <a:fld id="{94A6D44E-0BF8-4A10-A708-3AB32E33FA71}" type="slidenum">
              <a:rPr lang="en-US" smtClean="0"/>
              <a:t>‹nr.›</a:t>
            </a:fld>
            <a:r>
              <a:rPr lang="ro"/>
              <a:t> -</a:t>
            </a:r>
          </a:p>
        </p:txBody>
      </p:sp>
      <p:grpSp>
        <p:nvGrpSpPr>
          <p:cNvPr id="53" name="Gruppieren 52">
            <a:extLst>
              <a:ext uri="{FF2B5EF4-FFF2-40B4-BE49-F238E27FC236}">
                <a16:creationId xmlns:a16="http://schemas.microsoft.com/office/drawing/2014/main" id="{D07815A7-0216-47A1-B54B-802950FC688D}"/>
              </a:ext>
            </a:extLst>
          </p:cNvPr>
          <p:cNvGrpSpPr>
            <a:grpSpLocks/>
          </p:cNvGrpSpPr>
          <p:nvPr/>
        </p:nvGrpSpPr>
        <p:grpSpPr>
          <a:xfrm>
            <a:off x="10714588" y="263197"/>
            <a:ext cx="1218552" cy="375634"/>
            <a:chOff x="7241394" y="191294"/>
            <a:chExt cx="1717661" cy="529490"/>
          </a:xfrm>
        </p:grpSpPr>
        <p:sp>
          <p:nvSpPr>
            <p:cNvPr id="54" name="Rectangle 1069">
              <a:extLst>
                <a:ext uri="{FF2B5EF4-FFF2-40B4-BE49-F238E27FC236}">
                  <a16:creationId xmlns:a16="http://schemas.microsoft.com/office/drawing/2014/main" id="{7BEAF442-D062-4475-A3C9-1C0D86CBF68B}"/>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55" name="AutoShape 4">
              <a:extLst>
                <a:ext uri="{FF2B5EF4-FFF2-40B4-BE49-F238E27FC236}">
                  <a16:creationId xmlns:a16="http://schemas.microsoft.com/office/drawing/2014/main" id="{0F8BA2F0-7912-4E52-B725-61325444A65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57" name="Freeform 6">
              <a:extLst>
                <a:ext uri="{FF2B5EF4-FFF2-40B4-BE49-F238E27FC236}">
                  <a16:creationId xmlns:a16="http://schemas.microsoft.com/office/drawing/2014/main" id="{4CD46A96-E7A9-4CA8-8BBB-03793AA03E5D}"/>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58" name="Freeform 7">
              <a:extLst>
                <a:ext uri="{FF2B5EF4-FFF2-40B4-BE49-F238E27FC236}">
                  <a16:creationId xmlns:a16="http://schemas.microsoft.com/office/drawing/2014/main" id="{DBC59737-D72E-4543-A8A9-3E7CFEF26B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59" name="Freeform 8">
              <a:extLst>
                <a:ext uri="{FF2B5EF4-FFF2-40B4-BE49-F238E27FC236}">
                  <a16:creationId xmlns:a16="http://schemas.microsoft.com/office/drawing/2014/main" id="{4E07CAA4-3B71-4C2E-A638-2A57125E7AA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62" name="Freeform 9">
              <a:extLst>
                <a:ext uri="{FF2B5EF4-FFF2-40B4-BE49-F238E27FC236}">
                  <a16:creationId xmlns:a16="http://schemas.microsoft.com/office/drawing/2014/main" id="{D6583C46-F83A-4637-B75F-339872D2A7F4}"/>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63" name="Freeform 10">
              <a:extLst>
                <a:ext uri="{FF2B5EF4-FFF2-40B4-BE49-F238E27FC236}">
                  <a16:creationId xmlns:a16="http://schemas.microsoft.com/office/drawing/2014/main" id="{186FA4BC-4110-4FC7-B267-8C5736B108D9}"/>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65" name="Freeform 11">
              <a:extLst>
                <a:ext uri="{FF2B5EF4-FFF2-40B4-BE49-F238E27FC236}">
                  <a16:creationId xmlns:a16="http://schemas.microsoft.com/office/drawing/2014/main" id="{17A99A11-77B6-4165-B2F3-09629B63C0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69" name="Rechteck 68">
            <a:extLst>
              <a:ext uri="{FF2B5EF4-FFF2-40B4-BE49-F238E27FC236}">
                <a16:creationId xmlns:a16="http://schemas.microsoft.com/office/drawing/2014/main" id="{D0BF7607-8948-4FA0-82BB-AE865AB38AC6}"/>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0" name="Rechteck 69">
            <a:extLst>
              <a:ext uri="{FF2B5EF4-FFF2-40B4-BE49-F238E27FC236}">
                <a16:creationId xmlns:a16="http://schemas.microsoft.com/office/drawing/2014/main" id="{FAA8DFCF-0390-4A57-9774-0B10EE42255A}"/>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61"/>
    </p:custDataLst>
    <p:extLst>
      <p:ext uri="{BB962C8B-B14F-4D97-AF65-F5344CB8AC3E}">
        <p14:creationId xmlns:p14="http://schemas.microsoft.com/office/powerpoint/2010/main" val="3190872970"/>
      </p:ext>
    </p:extLst>
  </p:cSld>
  <p:clrMap bg1="lt1" tx1="dk1" bg2="lt2" tx2="dk2" accent1="accent1" accent2="accent2" accent3="accent3" accent4="accent4" accent5="accent5" accent6="accent6" hlink="hlink" folHlink="folHlink"/>
  <p:sldLayoutIdLst>
    <p:sldLayoutId id="2147483692" r:id="rId1"/>
    <p:sldLayoutId id="2147483943" r:id="rId2"/>
    <p:sldLayoutId id="2147483911" r:id="rId3"/>
    <p:sldLayoutId id="2147483912" r:id="rId4"/>
    <p:sldLayoutId id="2147483913" r:id="rId5"/>
    <p:sldLayoutId id="2147483679" r:id="rId6"/>
    <p:sldLayoutId id="2147483914" r:id="rId7"/>
    <p:sldLayoutId id="2147483915" r:id="rId8"/>
    <p:sldLayoutId id="2147483916" r:id="rId9"/>
    <p:sldLayoutId id="2147483917" r:id="rId10"/>
    <p:sldLayoutId id="2147483918" r:id="rId11"/>
    <p:sldLayoutId id="2147483886" r:id="rId12"/>
    <p:sldLayoutId id="2147483887" r:id="rId13"/>
    <p:sldLayoutId id="2147483888" r:id="rId14"/>
    <p:sldLayoutId id="2147483889" r:id="rId15"/>
    <p:sldLayoutId id="2147483713" r:id="rId16"/>
    <p:sldLayoutId id="2147483720" r:id="rId17"/>
    <p:sldLayoutId id="2147483721" r:id="rId18"/>
    <p:sldLayoutId id="2147483724" r:id="rId19"/>
    <p:sldLayoutId id="2147483709" r:id="rId20"/>
    <p:sldLayoutId id="2147483706" r:id="rId21"/>
    <p:sldLayoutId id="2147483689" r:id="rId22"/>
    <p:sldLayoutId id="2147483722" r:id="rId23"/>
    <p:sldLayoutId id="2147483723" r:id="rId24"/>
    <p:sldLayoutId id="2147483726" r:id="rId25"/>
    <p:sldLayoutId id="2147483830" r:id="rId26"/>
    <p:sldLayoutId id="2147483833" r:id="rId27"/>
    <p:sldLayoutId id="2147483835" r:id="rId28"/>
    <p:sldLayoutId id="2147483831" r:id="rId29"/>
    <p:sldLayoutId id="2147483834" r:id="rId30"/>
    <p:sldLayoutId id="2147483832" r:id="rId31"/>
    <p:sldLayoutId id="2147483725" r:id="rId32"/>
    <p:sldLayoutId id="2147483731" r:id="rId33"/>
    <p:sldLayoutId id="2147483919" r:id="rId34"/>
    <p:sldLayoutId id="2147483920" r:id="rId35"/>
    <p:sldLayoutId id="2147483921" r:id="rId36"/>
    <p:sldLayoutId id="2147483922" r:id="rId37"/>
    <p:sldLayoutId id="2147483923" r:id="rId38"/>
    <p:sldLayoutId id="2147483924" r:id="rId39"/>
    <p:sldLayoutId id="2147483925" r:id="rId40"/>
    <p:sldLayoutId id="2147483926" r:id="rId41"/>
    <p:sldLayoutId id="2147483927" r:id="rId42"/>
    <p:sldLayoutId id="2147483928" r:id="rId43"/>
    <p:sldLayoutId id="2147483929" r:id="rId44"/>
    <p:sldLayoutId id="2147483930" r:id="rId45"/>
    <p:sldLayoutId id="2147483931" r:id="rId46"/>
    <p:sldLayoutId id="2147483932" r:id="rId47"/>
    <p:sldLayoutId id="2147483933" r:id="rId48"/>
    <p:sldLayoutId id="2147483934" r:id="rId49"/>
    <p:sldLayoutId id="2147483935" r:id="rId50"/>
    <p:sldLayoutId id="2147483936" r:id="rId51"/>
    <p:sldLayoutId id="2147483937" r:id="rId52"/>
    <p:sldLayoutId id="2147483938" r:id="rId53"/>
    <p:sldLayoutId id="2147483941" r:id="rId54"/>
    <p:sldLayoutId id="2147483939" r:id="rId55"/>
    <p:sldLayoutId id="2147483940" r:id="rId56"/>
    <p:sldLayoutId id="2147483666" r:id="rId57"/>
    <p:sldLayoutId id="2147483944" r:id="rId58"/>
  </p:sldLayoutIdLst>
  <p:hf hdr="0" ftr="0" dt="0"/>
  <p:txStyles>
    <p:titleStyle>
      <a:lvl1pPr algn="l" defTabSz="914400" rtl="0" eaLnBrk="1" latinLnBrk="0" hangingPunct="1">
        <a:spcBef>
          <a:spcPct val="0"/>
        </a:spcBef>
        <a:buNone/>
        <a:defRPr sz="2400" b="0" kern="1200" cap="none" baseline="0">
          <a:solidFill>
            <a:schemeClr val="tx1"/>
          </a:solidFill>
          <a:latin typeface="+mj-lt"/>
          <a:ea typeface="+mj-ea"/>
          <a:cs typeface="+mj-cs"/>
        </a:defRPr>
      </a:lvl1pPr>
    </p:titleStyle>
    <p:bodyStyle>
      <a:lvl1pPr marL="0" indent="0" algn="l" defTabSz="914400" rtl="0" eaLnBrk="1" latinLnBrk="0" hangingPunct="1">
        <a:spcBef>
          <a:spcPts val="600"/>
        </a:spcBef>
        <a:buClr>
          <a:schemeClr val="accent5"/>
        </a:buClr>
        <a:buSzPct val="100000"/>
        <a:buFont typeface="Arial" panose="020B0604020202020204" pitchFamily="34" charset="0"/>
        <a:buNone/>
        <a:defRPr lang="en-US" sz="1400" kern="1200" dirty="0" smtClean="0">
          <a:solidFill>
            <a:schemeClr val="tx1"/>
          </a:solidFill>
          <a:latin typeface="+mn-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168" userDrawn="1">
          <p15:clr>
            <a:srgbClr val="F26B43"/>
          </p15:clr>
        </p15:guide>
        <p15:guide id="3" pos="7516" userDrawn="1">
          <p15:clr>
            <a:srgbClr val="F26B43"/>
          </p15:clr>
        </p15:guide>
        <p15:guide id="4" orient="horz" pos="3997" userDrawn="1">
          <p15:clr>
            <a:srgbClr val="F26B43"/>
          </p15:clr>
        </p15:guide>
        <p15:guide id="5" orient="horz" pos="164" userDrawn="1">
          <p15:clr>
            <a:srgbClr val="F26B43"/>
          </p15:clr>
        </p15:guide>
        <p15:guide id="13" orient="horz" pos="3861" userDrawn="1">
          <p15:clr>
            <a:srgbClr val="F26B43"/>
          </p15:clr>
        </p15:guide>
        <p15:guide id="14" orient="horz" pos="36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tesa.com/en/industry/general-applications/mounting/team-4965-assortment" TargetMode="External"/><Relationship Id="rId2" Type="http://schemas.openxmlformats.org/officeDocument/2006/relationships/image" Target="../media/image7.jpe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18.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https://www.tesa.com/en/industry/general-applications/mounting/team-4965-assortment" TargetMode="External"/><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globe with a light inside&#10;&#10;Description automatically generated with medium confidence">
            <a:extLst>
              <a:ext uri="{FF2B5EF4-FFF2-40B4-BE49-F238E27FC236}">
                <a16:creationId xmlns:a16="http://schemas.microsoft.com/office/drawing/2014/main" id="{DE4E2AD4-1212-8606-0352-345A4BD49AE5}"/>
              </a:ext>
            </a:extLst>
          </p:cNvPr>
          <p:cNvPicPr>
            <a:picLocks noGrp="1" noChangeAspect="1"/>
          </p:cNvPicPr>
          <p:nvPr>
            <p:ph type="pic" sz="quarter" idx="14"/>
          </p:nvPr>
        </p:nvPicPr>
        <p:blipFill>
          <a:blip r:embed="rId2"/>
          <a:srcRect l="17983" r="17983"/>
          <a:stretch>
            <a:fillRect/>
          </a:stretch>
        </p:blipFill>
        <p:spPr>
          <a:xfrm>
            <a:off x="0" y="1"/>
            <a:ext cx="12198350" cy="6350001"/>
          </a:xfrm>
        </p:spPr>
      </p:pic>
      <p:sp>
        <p:nvSpPr>
          <p:cNvPr id="3" name="Text Placeholder 2">
            <a:extLst>
              <a:ext uri="{FF2B5EF4-FFF2-40B4-BE49-F238E27FC236}">
                <a16:creationId xmlns:a16="http://schemas.microsoft.com/office/drawing/2014/main" id="{0F43D1CA-9089-3C23-570F-9551E3EB7454}"/>
              </a:ext>
            </a:extLst>
          </p:cNvPr>
          <p:cNvSpPr>
            <a:spLocks noGrp="1"/>
          </p:cNvSpPr>
          <p:nvPr>
            <p:ph type="body" sz="quarter" idx="10"/>
          </p:nvPr>
        </p:nvSpPr>
        <p:spPr>
          <a:xfrm>
            <a:off x="519114" y="1404897"/>
            <a:ext cx="2507198" cy="626701"/>
          </a:xfrm>
        </p:spPr>
        <p:txBody>
          <a:bodyPr rtlCol="0"/>
          <a:lstStyle/>
          <a:p>
            <a:pPr rtl="0"/>
            <a:r>
              <a:rPr lang="ro" dirty="0"/>
              <a:t>100% original</a:t>
            </a:r>
          </a:p>
        </p:txBody>
      </p:sp>
      <p:sp>
        <p:nvSpPr>
          <p:cNvPr id="4" name="Text Placeholder 3">
            <a:extLst>
              <a:ext uri="{FF2B5EF4-FFF2-40B4-BE49-F238E27FC236}">
                <a16:creationId xmlns:a16="http://schemas.microsoft.com/office/drawing/2014/main" id="{F3D11639-F974-A84C-A01A-676114ECE7D3}"/>
              </a:ext>
            </a:extLst>
          </p:cNvPr>
          <p:cNvSpPr>
            <a:spLocks noGrp="1"/>
          </p:cNvSpPr>
          <p:nvPr>
            <p:ph type="body" sz="quarter" idx="12"/>
          </p:nvPr>
        </p:nvSpPr>
        <p:spPr>
          <a:xfrm>
            <a:off x="519113" y="2103598"/>
            <a:ext cx="6004517" cy="626701"/>
          </a:xfrm>
        </p:spPr>
        <p:txBody>
          <a:bodyPr rtlCol="0"/>
          <a:lstStyle/>
          <a:p>
            <a:pPr rtl="0"/>
            <a:r>
              <a:rPr lang="ro" dirty="0"/>
              <a:t>Cu 40% mai puține emisii de CO</a:t>
            </a:r>
            <a:r>
              <a:rPr lang="ro" sz="3600" baseline="-25000" dirty="0"/>
              <a:t>2</a:t>
            </a:r>
            <a:r>
              <a:rPr lang="ro" dirty="0"/>
              <a:t>*</a:t>
            </a:r>
          </a:p>
        </p:txBody>
      </p:sp>
      <p:sp>
        <p:nvSpPr>
          <p:cNvPr id="5" name="Text Placeholder 4">
            <a:extLst>
              <a:ext uri="{FF2B5EF4-FFF2-40B4-BE49-F238E27FC236}">
                <a16:creationId xmlns:a16="http://schemas.microsoft.com/office/drawing/2014/main" id="{8818EDB2-87A5-F67A-F661-66697A0012F7}"/>
              </a:ext>
            </a:extLst>
          </p:cNvPr>
          <p:cNvSpPr>
            <a:spLocks noGrp="1"/>
          </p:cNvSpPr>
          <p:nvPr>
            <p:ph type="body" sz="quarter" idx="13"/>
          </p:nvPr>
        </p:nvSpPr>
        <p:spPr>
          <a:xfrm>
            <a:off x="519114" y="2802299"/>
            <a:ext cx="1857982" cy="626701"/>
          </a:xfrm>
        </p:spPr>
        <p:txBody>
          <a:bodyPr rtlCol="0"/>
          <a:lstStyle/>
          <a:p>
            <a:pPr rtl="0"/>
            <a:r>
              <a:rPr lang="ro" dirty="0"/>
              <a:t>Este logic</a:t>
            </a:r>
          </a:p>
        </p:txBody>
      </p:sp>
      <p:sp>
        <p:nvSpPr>
          <p:cNvPr id="6" name="Text Placeholder 5">
            <a:extLst>
              <a:ext uri="{FF2B5EF4-FFF2-40B4-BE49-F238E27FC236}">
                <a16:creationId xmlns:a16="http://schemas.microsoft.com/office/drawing/2014/main" id="{01A36DAF-B68F-00FE-1427-6EAD0B6AEDF8}"/>
              </a:ext>
            </a:extLst>
          </p:cNvPr>
          <p:cNvSpPr>
            <a:spLocks noGrp="1"/>
          </p:cNvSpPr>
          <p:nvPr>
            <p:ph type="body" sz="quarter" idx="15"/>
          </p:nvPr>
        </p:nvSpPr>
        <p:spPr>
          <a:xfrm>
            <a:off x="519113" y="5884669"/>
            <a:ext cx="11414027" cy="569387"/>
          </a:xfrm>
        </p:spPr>
        <p:txBody>
          <a:bodyPr vert="horz" lIns="0" tIns="0" rIns="0" bIns="0" rtlCol="0" anchor="t">
            <a:spAutoFit/>
          </a:bodyPr>
          <a:lstStyle/>
          <a:p>
            <a:pPr rtl="0"/>
            <a:r>
              <a:rPr lang="ro">
                <a:solidFill>
                  <a:schemeClr val="bg1"/>
                </a:solidFill>
                <a:cs typeface="Arial"/>
              </a:rPr>
              <a:t>Resurse și fișă informativă</a:t>
            </a:r>
            <a:endParaRPr lang="en-GB">
              <a:solidFill>
                <a:schemeClr val="bg1"/>
              </a:solidFill>
            </a:endParaRPr>
          </a:p>
          <a:p>
            <a:pPr rtl="0"/>
            <a:endParaRPr lang="en-GB"/>
          </a:p>
        </p:txBody>
      </p:sp>
    </p:spTree>
    <p:extLst>
      <p:ext uri="{BB962C8B-B14F-4D97-AF65-F5344CB8AC3E}">
        <p14:creationId xmlns:p14="http://schemas.microsoft.com/office/powerpoint/2010/main" val="1764485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B718C63-76FF-47A4-61D0-EC294BDF69A4}"/>
              </a:ext>
            </a:extLst>
          </p:cNvPr>
          <p:cNvGrpSpPr/>
          <p:nvPr/>
        </p:nvGrpSpPr>
        <p:grpSpPr>
          <a:xfrm>
            <a:off x="495569" y="583026"/>
            <a:ext cx="6205481" cy="1202291"/>
            <a:chOff x="671512" y="576089"/>
            <a:chExt cx="6205481" cy="1202291"/>
          </a:xfrm>
        </p:grpSpPr>
        <p:sp>
          <p:nvSpPr>
            <p:cNvPr id="3" name="Content Placeholder 2">
              <a:extLst>
                <a:ext uri="{FF2B5EF4-FFF2-40B4-BE49-F238E27FC236}">
                  <a16:creationId xmlns:a16="http://schemas.microsoft.com/office/drawing/2014/main" id="{54995D09-8B27-EBCC-D227-A3608E02CC71}"/>
                </a:ext>
              </a:extLst>
            </p:cNvPr>
            <p:cNvSpPr txBox="1">
              <a:spLocks/>
            </p:cNvSpPr>
            <p:nvPr/>
          </p:nvSpPr>
          <p:spPr>
            <a:xfrm>
              <a:off x="671512" y="576089"/>
              <a:ext cx="6088111" cy="626701"/>
            </a:xfrm>
            <a:prstGeom prst="rect">
              <a:avLst/>
            </a:prstGeom>
            <a:solidFill>
              <a:schemeClr val="accent5"/>
            </a:solidFill>
          </p:spPr>
          <p:txBody>
            <a:bodyPr vert="horz" wrap="none" lIns="108000" tIns="36000" rIns="108000" bIns="36000" rtlCol="0" anchor="ctr">
              <a:norm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ro" sz="3200" b="1">
                  <a:latin typeface="Arial" panose="020B0604020202020204" pitchFamily="34" charset="0"/>
                  <a:ea typeface="Calibri" panose="020F0502020204030204" pitchFamily="34" charset="0"/>
                </a:rPr>
                <a:t>tesa</a:t>
              </a:r>
              <a:r>
                <a:rPr lang="ro" sz="3200" b="1" baseline="30000">
                  <a:latin typeface="Arial" panose="020B0604020202020204" pitchFamily="34" charset="0"/>
                  <a:ea typeface="Calibri" panose="020F0502020204030204" pitchFamily="34" charset="0"/>
                </a:rPr>
                <a:t>®</a:t>
              </a:r>
              <a:r>
                <a:rPr lang="ro" sz="3200" b="1">
                  <a:latin typeface="Arial" panose="020B0604020202020204" pitchFamily="34" charset="0"/>
                  <a:ea typeface="Calibri" panose="020F0502020204030204" pitchFamily="34" charset="0"/>
                </a:rPr>
                <a:t> 4965 Original Next Gen</a:t>
              </a:r>
              <a:r>
                <a:rPr lang="ro" sz="3200">
                  <a:latin typeface="Arial" panose="020B0604020202020204" pitchFamily="34" charset="0"/>
                  <a:ea typeface="Calibri" panose="020F0502020204030204" pitchFamily="34" charset="0"/>
                </a:rPr>
                <a:t> </a:t>
              </a:r>
              <a:endParaRPr lang="en-GB" sz="3200"/>
            </a:p>
          </p:txBody>
        </p:sp>
        <p:sp>
          <p:nvSpPr>
            <p:cNvPr id="5" name="Text Placeholder 10">
              <a:extLst>
                <a:ext uri="{FF2B5EF4-FFF2-40B4-BE49-F238E27FC236}">
                  <a16:creationId xmlns:a16="http://schemas.microsoft.com/office/drawing/2014/main" id="{68BC7F06-50E9-324E-CC36-E841919C8C63}"/>
                </a:ext>
              </a:extLst>
            </p:cNvPr>
            <p:cNvSpPr txBox="1">
              <a:spLocks/>
            </p:cNvSpPr>
            <p:nvPr/>
          </p:nvSpPr>
          <p:spPr>
            <a:xfrm>
              <a:off x="671512" y="1274790"/>
              <a:ext cx="6205481" cy="503590"/>
            </a:xfrm>
            <a:prstGeom prst="rect">
              <a:avLst/>
            </a:prstGeom>
            <a:solidFill>
              <a:schemeClr val="accent5"/>
            </a:solidFill>
          </p:spPr>
          <p:txBody>
            <a:bodyPr vert="horz" wrap="square" lIns="108000" tIns="36000" rIns="108000" bIns="36000" rtlCol="0">
              <a:sp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ro" sz="2800" dirty="0"/>
                <a:t>Aceeași valoare, dar mai puține emisii de CO</a:t>
              </a:r>
              <a:r>
                <a:rPr lang="ro" sz="2800" baseline="-25000" dirty="0"/>
                <a:t>2</a:t>
              </a:r>
              <a:endParaRPr lang="en-GB" sz="2800" dirty="0"/>
            </a:p>
          </p:txBody>
        </p:sp>
      </p:grpSp>
      <p:sp>
        <p:nvSpPr>
          <p:cNvPr id="14" name="Text Placeholder 13">
            <a:extLst>
              <a:ext uri="{FF2B5EF4-FFF2-40B4-BE49-F238E27FC236}">
                <a16:creationId xmlns:a16="http://schemas.microsoft.com/office/drawing/2014/main" id="{AC0D0E6F-3354-000A-4292-F5967968909A}"/>
              </a:ext>
            </a:extLst>
          </p:cNvPr>
          <p:cNvSpPr>
            <a:spLocks noGrp="1"/>
          </p:cNvSpPr>
          <p:nvPr>
            <p:ph type="body" sz="quarter" idx="15"/>
          </p:nvPr>
        </p:nvSpPr>
        <p:spPr>
          <a:xfrm>
            <a:off x="511291" y="2363385"/>
            <a:ext cx="5980949" cy="2831544"/>
          </a:xfrm>
        </p:spPr>
        <p:txBody>
          <a:bodyPr rtlCol="0"/>
          <a:lstStyle/>
          <a:p>
            <a:pPr marL="285750" indent="-285750" rtl="0">
              <a:spcAft>
                <a:spcPts val="600"/>
              </a:spcAft>
              <a:buClr>
                <a:srgbClr val="009FDF"/>
              </a:buClr>
              <a:buFont typeface="Wingdings" pitchFamily="2" charset="2"/>
              <a:buChar char="§"/>
            </a:pPr>
            <a:r>
              <a:rPr lang="ro" sz="2200" dirty="0"/>
              <a:t> -40%* CO</a:t>
            </a:r>
            <a:r>
              <a:rPr lang="ro" sz="2200" baseline="-25000" dirty="0"/>
              <a:t>2</a:t>
            </a:r>
            <a:r>
              <a:rPr lang="ro" sz="2200" dirty="0"/>
              <a:t> pe baza cifrelor din studiul verificat ISO 14067</a:t>
            </a:r>
          </a:p>
          <a:p>
            <a:pPr marL="285750" indent="-285750" rtl="0">
              <a:spcAft>
                <a:spcPts val="600"/>
              </a:spcAft>
              <a:buClr>
                <a:srgbClr val="009FDF"/>
              </a:buClr>
              <a:buFont typeface="Wingdings" pitchFamily="2" charset="2"/>
              <a:buChar char="§"/>
            </a:pPr>
            <a:r>
              <a:rPr lang="ro" sz="2200" dirty="0"/>
              <a:t>Componente adezive echilibrate derivate din biomasă și 90% PET PCR în suport</a:t>
            </a:r>
          </a:p>
          <a:p>
            <a:pPr marL="285750" indent="-285750" rtl="0">
              <a:spcAft>
                <a:spcPts val="600"/>
              </a:spcAft>
              <a:buClr>
                <a:srgbClr val="009FDF"/>
              </a:buClr>
              <a:buFont typeface="Wingdings" pitchFamily="2" charset="2"/>
              <a:buChar char="§"/>
            </a:pPr>
            <a:r>
              <a:rPr lang="ro" sz="2200" dirty="0"/>
              <a:t>În timpul testelor, noua versiune a demonstrat aceeași fiabilitate ca și versiunea precedentă</a:t>
            </a:r>
          </a:p>
          <a:p>
            <a:pPr marL="285750" indent="-285750" rtl="0">
              <a:spcAft>
                <a:spcPts val="600"/>
              </a:spcAft>
              <a:buClr>
                <a:srgbClr val="009FDF"/>
              </a:buClr>
              <a:buFont typeface="Wingdings" pitchFamily="2" charset="2"/>
              <a:buChar char="§"/>
            </a:pPr>
            <a:endParaRPr lang="en-US" sz="2200" dirty="0"/>
          </a:p>
        </p:txBody>
      </p:sp>
      <p:pic>
        <p:nvPicPr>
          <p:cNvPr id="4" name="Picture Placeholder 3" descr="A person in a white coat and a beard standing next to a person in a white coat&#10;&#10;Description automatically generated">
            <a:extLst>
              <a:ext uri="{FF2B5EF4-FFF2-40B4-BE49-F238E27FC236}">
                <a16:creationId xmlns:a16="http://schemas.microsoft.com/office/drawing/2014/main" id="{DB6AA8A1-4627-ED46-9D68-3E14EEB8E9BA}"/>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23652" t="2343" r="25573" b="7324"/>
          <a:stretch/>
        </p:blipFill>
        <p:spPr>
          <a:xfrm flipH="1">
            <a:off x="6839711" y="0"/>
            <a:ext cx="5358637" cy="6343650"/>
          </a:xfrm>
          <a:prstGeom prst="rect">
            <a:avLst/>
          </a:prstGeom>
        </p:spPr>
      </p:pic>
      <p:grpSp>
        <p:nvGrpSpPr>
          <p:cNvPr id="9" name="Gruppieren 52">
            <a:extLst>
              <a:ext uri="{FF2B5EF4-FFF2-40B4-BE49-F238E27FC236}">
                <a16:creationId xmlns:a16="http://schemas.microsoft.com/office/drawing/2014/main" id="{80A7F609-8CA1-F207-0B86-3F7E5294D434}"/>
              </a:ext>
            </a:extLst>
          </p:cNvPr>
          <p:cNvGrpSpPr>
            <a:grpSpLocks/>
          </p:cNvGrpSpPr>
          <p:nvPr/>
        </p:nvGrpSpPr>
        <p:grpSpPr>
          <a:xfrm>
            <a:off x="10714588" y="263197"/>
            <a:ext cx="1218552" cy="375634"/>
            <a:chOff x="7241394" y="191294"/>
            <a:chExt cx="1717661" cy="529490"/>
          </a:xfrm>
        </p:grpSpPr>
        <p:sp>
          <p:nvSpPr>
            <p:cNvPr id="10" name="Rectangle 1069">
              <a:extLst>
                <a:ext uri="{FF2B5EF4-FFF2-40B4-BE49-F238E27FC236}">
                  <a16:creationId xmlns:a16="http://schemas.microsoft.com/office/drawing/2014/main" id="{F15EE96E-DBE9-FAB2-B4A0-E399BC043150}"/>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1" name="AutoShape 4">
              <a:extLst>
                <a:ext uri="{FF2B5EF4-FFF2-40B4-BE49-F238E27FC236}">
                  <a16:creationId xmlns:a16="http://schemas.microsoft.com/office/drawing/2014/main" id="{3DB3685C-439D-FF64-E6C2-5256ED089EA7}"/>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43482141-1DB4-23BE-131C-D5134F51B831}"/>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7">
              <a:extLst>
                <a:ext uri="{FF2B5EF4-FFF2-40B4-BE49-F238E27FC236}">
                  <a16:creationId xmlns:a16="http://schemas.microsoft.com/office/drawing/2014/main" id="{1978C4CD-C80E-217E-99CA-FEBB3EB53E50}"/>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8">
              <a:extLst>
                <a:ext uri="{FF2B5EF4-FFF2-40B4-BE49-F238E27FC236}">
                  <a16:creationId xmlns:a16="http://schemas.microsoft.com/office/drawing/2014/main" id="{737E2AF8-25BF-8F95-5FCD-BB55F759F50F}"/>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9">
              <a:extLst>
                <a:ext uri="{FF2B5EF4-FFF2-40B4-BE49-F238E27FC236}">
                  <a16:creationId xmlns:a16="http://schemas.microsoft.com/office/drawing/2014/main" id="{872E4013-2E5B-DCC9-8405-46280700069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10">
              <a:extLst>
                <a:ext uri="{FF2B5EF4-FFF2-40B4-BE49-F238E27FC236}">
                  <a16:creationId xmlns:a16="http://schemas.microsoft.com/office/drawing/2014/main" id="{F94ECB0F-A5D2-BDE0-2F83-01329A3CF9A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9" name="Freeform 11">
              <a:extLst>
                <a:ext uri="{FF2B5EF4-FFF2-40B4-BE49-F238E27FC236}">
                  <a16:creationId xmlns:a16="http://schemas.microsoft.com/office/drawing/2014/main" id="{52E61C41-E80F-EDB1-BF47-0FE2BEEB3809}"/>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2" name="TextBox 11">
            <a:extLst>
              <a:ext uri="{FF2B5EF4-FFF2-40B4-BE49-F238E27FC236}">
                <a16:creationId xmlns:a16="http://schemas.microsoft.com/office/drawing/2014/main" id="{C29A96B2-6A4A-2249-2DCF-5C8CDCC4FF08}"/>
              </a:ext>
            </a:extLst>
          </p:cNvPr>
          <p:cNvSpPr txBox="1"/>
          <p:nvPr/>
        </p:nvSpPr>
        <p:spPr>
          <a:xfrm>
            <a:off x="529434" y="5683997"/>
            <a:ext cx="6021614" cy="584775"/>
          </a:xfrm>
          <a:prstGeom prst="rect">
            <a:avLst/>
          </a:prstGeom>
          <a:noFill/>
        </p:spPr>
        <p:txBody>
          <a:bodyPr wrap="square" lIns="91440" tIns="45720" rIns="91440" bIns="45720" rtlCol="0" anchor="t">
            <a:spAutoFit/>
          </a:bodyPr>
          <a:lstStyle/>
          <a:p>
            <a:pPr rtl="0">
              <a:spcAft>
                <a:spcPts val="800"/>
              </a:spcAft>
            </a:pPr>
            <a:r>
              <a:rPr lang="ro" sz="800" kern="0">
                <a:latin typeface="Arial"/>
                <a:ea typeface="Calibri"/>
                <a:cs typeface="Times New Roman"/>
              </a:rPr>
              <a:t>*Reducerea amprentei de carbon a produsului (PCF) pentru noua bandă tesa® 4965 Original Next Gen (rolă de mână 50 m x 50 mm, PV0: căptușeală MOPP roșie) în comparație cu banda actuală tesa® 4965 Original (rolă de mână 50 m x 50 mm, PV0: căptușeală MOPP roșie) calculată în 2023 cu valori Cradle-to-Gate, inclusiv absorbția de carbon biogenic. Valorile PCF individuale pentru celelalte tipuri de căptușeli (PV1, PV2, PV4) și informații suplimentare pot fi găsite în calculul nostru comparativ PCF conform ISO 14067 pe </a:t>
            </a:r>
            <a:r>
              <a:rPr lang="ro" sz="800" kern="0">
                <a:latin typeface="Arial"/>
                <a:ea typeface="Calibri"/>
                <a:cs typeface="Times New Roman"/>
                <a:hlinkClick r:id="rId3"/>
              </a:rPr>
              <a:t>tesa.com/4965-report</a:t>
            </a:r>
            <a:r>
              <a:rPr lang="ro" sz="800" kern="0">
                <a:latin typeface="Arial"/>
                <a:ea typeface="Calibri"/>
                <a:cs typeface="Times New Roman"/>
              </a:rPr>
              <a:t>.</a:t>
            </a:r>
            <a:endParaRPr lang="en-GB" sz="800" kern="100" dirty="0">
              <a:latin typeface="Arial"/>
              <a:ea typeface="Calibri"/>
              <a:cs typeface="Times New Roman"/>
            </a:endParaRPr>
          </a:p>
        </p:txBody>
      </p:sp>
      <p:sp>
        <p:nvSpPr>
          <p:cNvPr id="6" name="Slide Number Placeholder 5">
            <a:extLst>
              <a:ext uri="{FF2B5EF4-FFF2-40B4-BE49-F238E27FC236}">
                <a16:creationId xmlns:a16="http://schemas.microsoft.com/office/drawing/2014/main" id="{5DDBFCAE-8949-0E13-5801-26EC135FADCB}"/>
              </a:ext>
            </a:extLst>
          </p:cNvPr>
          <p:cNvSpPr>
            <a:spLocks noGrp="1"/>
          </p:cNvSpPr>
          <p:nvPr>
            <p:ph type="sldNum" sz="quarter" idx="18"/>
          </p:nvPr>
        </p:nvSpPr>
        <p:spPr/>
        <p:txBody>
          <a:bodyPr rtlCol="0"/>
          <a:lstStyle/>
          <a:p>
            <a:pPr rtl="0"/>
            <a:r>
              <a:rPr lang="ro"/>
              <a:t>- </a:t>
            </a:r>
            <a:fld id="{94A6D44E-0BF8-4A10-A708-3AB32E33FA71}" type="slidenum">
              <a:rPr lang="en-US" smtClean="0"/>
              <a:pPr/>
              <a:t>2</a:t>
            </a:fld>
            <a:r>
              <a:rPr lang="ro"/>
              <a:t> -</a:t>
            </a:r>
          </a:p>
        </p:txBody>
      </p:sp>
    </p:spTree>
    <p:extLst>
      <p:ext uri="{BB962C8B-B14F-4D97-AF65-F5344CB8AC3E}">
        <p14:creationId xmlns:p14="http://schemas.microsoft.com/office/powerpoint/2010/main" val="4173867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735BF04A-E584-E184-D559-9D5E34FF0F18}"/>
              </a:ext>
            </a:extLst>
          </p:cNvPr>
          <p:cNvPicPr>
            <a:picLocks noGrp="1" noChangeAspect="1"/>
          </p:cNvPicPr>
          <p:nvPr>
            <p:ph type="pic" sz="quarter" idx="20"/>
          </p:nvPr>
        </p:nvPicPr>
        <p:blipFill>
          <a:blip r:embed="rId2"/>
          <a:stretch>
            <a:fillRect/>
          </a:stretch>
        </p:blipFill>
        <p:spPr>
          <a:xfrm>
            <a:off x="4376570" y="1995145"/>
            <a:ext cx="7077410" cy="4039128"/>
          </a:xfrm>
          <a:prstGeom prst="rect">
            <a:avLst/>
          </a:prstGeom>
          <a:solidFill>
            <a:schemeClr val="bg1">
              <a:lumMod val="95000"/>
            </a:schemeClr>
          </a:solidFill>
        </p:spPr>
      </p:pic>
      <p:sp>
        <p:nvSpPr>
          <p:cNvPr id="13" name="Text Placeholder 12">
            <a:extLst>
              <a:ext uri="{FF2B5EF4-FFF2-40B4-BE49-F238E27FC236}">
                <a16:creationId xmlns:a16="http://schemas.microsoft.com/office/drawing/2014/main" id="{4078781D-5159-C32F-FACC-2B27678A100D}"/>
              </a:ext>
            </a:extLst>
          </p:cNvPr>
          <p:cNvSpPr>
            <a:spLocks noGrp="1"/>
          </p:cNvSpPr>
          <p:nvPr>
            <p:ph type="body" sz="quarter" idx="24"/>
          </p:nvPr>
        </p:nvSpPr>
        <p:spPr>
          <a:xfrm>
            <a:off x="366713" y="2142967"/>
            <a:ext cx="3671887" cy="4066764"/>
          </a:xfrm>
          <a:noFill/>
        </p:spPr>
        <p:txBody>
          <a:bodyPr bIns="144000" rtlCol="0"/>
          <a:lstStyle/>
          <a:p>
            <a:pPr marL="285750" indent="-285750" rtl="0">
              <a:buClr>
                <a:srgbClr val="009FDF"/>
              </a:buClr>
              <a:buFont typeface="Wingdings" pitchFamily="2" charset="2"/>
              <a:buChar char="§"/>
            </a:pPr>
            <a:r>
              <a:rPr lang="ro" sz="1400" b="0" dirty="0">
                <a:solidFill>
                  <a:schemeClr val="tx1"/>
                </a:solidFill>
              </a:rPr>
              <a:t>Include componente adezive echilibrate derivate din biomasă</a:t>
            </a:r>
          </a:p>
          <a:p>
            <a:pPr marL="285750" indent="-285750" rtl="0">
              <a:buClr>
                <a:srgbClr val="009FDF"/>
              </a:buClr>
              <a:buFont typeface="Wingdings" pitchFamily="2" charset="2"/>
              <a:buChar char="§"/>
            </a:pPr>
            <a:r>
              <a:rPr lang="ro" sz="1400" b="0" dirty="0">
                <a:solidFill>
                  <a:schemeClr val="tx1"/>
                </a:solidFill>
              </a:rPr>
              <a:t>Materiile prime non-fosile sunt utilizate în cantități echivalente în procesul de producție</a:t>
            </a:r>
          </a:p>
          <a:p>
            <a:pPr marL="285750" indent="-285750" rtl="0">
              <a:buClr>
                <a:srgbClr val="009FDF"/>
              </a:buClr>
              <a:buFont typeface="Wingdings" pitchFamily="2" charset="2"/>
              <a:buChar char="§"/>
            </a:pPr>
            <a:r>
              <a:rPr lang="ro" sz="1400" b="0" dirty="0">
                <a:solidFill>
                  <a:schemeClr val="tx1"/>
                </a:solidFill>
              </a:rPr>
              <a:t>Componentele sunt urmărite, verificate și certificate de ISCC PLUS </a:t>
            </a:r>
          </a:p>
          <a:p>
            <a:pPr marL="285750" indent="-285750" rtl="0">
              <a:buClr>
                <a:srgbClr val="009FDF"/>
              </a:buClr>
              <a:buFont typeface="Wingdings" pitchFamily="2" charset="2"/>
              <a:buChar char="§"/>
            </a:pPr>
            <a:r>
              <a:rPr lang="ro" sz="1400" b="0" dirty="0">
                <a:solidFill>
                  <a:schemeClr val="tx1"/>
                </a:solidFill>
              </a:rPr>
              <a:t>Garantează că întregul lanț de aprovizionare conține suficiente componente adezive echilibrate derivate din biomasă</a:t>
            </a:r>
          </a:p>
          <a:p>
            <a:pPr marL="285750" indent="-285750" rtl="0">
              <a:buClr>
                <a:srgbClr val="009FDF"/>
              </a:buClr>
              <a:buFont typeface="Wingdings" pitchFamily="2" charset="2"/>
              <a:buChar char="§"/>
            </a:pPr>
            <a:r>
              <a:rPr lang="ro" sz="1400" b="0" dirty="0">
                <a:solidFill>
                  <a:schemeClr val="tx1"/>
                </a:solidFill>
              </a:rPr>
              <a:t>Permite clienților să proiecteze produse mai durabile în propriul lanț valoric, contribuind astfel la atingerea obiectivelor de sustenabilitate</a:t>
            </a:r>
          </a:p>
        </p:txBody>
      </p:sp>
      <p:sp>
        <p:nvSpPr>
          <p:cNvPr id="3" name="Content Placeholder 2">
            <a:extLst>
              <a:ext uri="{FF2B5EF4-FFF2-40B4-BE49-F238E27FC236}">
                <a16:creationId xmlns:a16="http://schemas.microsoft.com/office/drawing/2014/main" id="{228568A4-5CE2-7FEE-7ED6-85B59E74BE78}"/>
              </a:ext>
            </a:extLst>
          </p:cNvPr>
          <p:cNvSpPr>
            <a:spLocks noGrp="1"/>
          </p:cNvSpPr>
          <p:nvPr>
            <p:ph type="body" sz="quarter" idx="21"/>
          </p:nvPr>
        </p:nvSpPr>
        <p:spPr>
          <a:xfrm>
            <a:off x="519112" y="423689"/>
            <a:ext cx="6618288" cy="626701"/>
          </a:xfrm>
        </p:spPr>
        <p:txBody>
          <a:bodyPr rtlCol="0" anchor="ctr">
            <a:normAutofit/>
          </a:bodyPr>
          <a:lstStyle/>
          <a:p>
            <a:pPr rtl="0"/>
            <a:r>
              <a:rPr lang="ro" b="1">
                <a:latin typeface="Arial" panose="020B0604020202020204" pitchFamily="34" charset="0"/>
                <a:ea typeface="Calibri" panose="020F0502020204030204" pitchFamily="34" charset="0"/>
              </a:rPr>
              <a:t>tesa</a:t>
            </a:r>
            <a:r>
              <a:rPr lang="ro" b="1" baseline="30000">
                <a:latin typeface="Arial" panose="020B0604020202020204" pitchFamily="34" charset="0"/>
                <a:ea typeface="Calibri" panose="020F0502020204030204" pitchFamily="34" charset="0"/>
              </a:rPr>
              <a:t>®</a:t>
            </a:r>
            <a:r>
              <a:rPr lang="ro" b="1">
                <a:latin typeface="Arial" panose="020B0604020202020204" pitchFamily="34" charset="0"/>
                <a:ea typeface="Calibri" panose="020F0502020204030204" pitchFamily="34" charset="0"/>
              </a:rPr>
              <a:t> 4965 Original Next Gen</a:t>
            </a:r>
            <a:r>
              <a:rPr lang="ro">
                <a:latin typeface="Arial" panose="020B0604020202020204" pitchFamily="34" charset="0"/>
                <a:ea typeface="Calibri" panose="020F0502020204030204" pitchFamily="34" charset="0"/>
              </a:rPr>
              <a:t> </a:t>
            </a:r>
            <a:endParaRPr lang="en-US"/>
          </a:p>
        </p:txBody>
      </p:sp>
      <p:sp>
        <p:nvSpPr>
          <p:cNvPr id="11" name="Text Placeholder 10">
            <a:extLst>
              <a:ext uri="{FF2B5EF4-FFF2-40B4-BE49-F238E27FC236}">
                <a16:creationId xmlns:a16="http://schemas.microsoft.com/office/drawing/2014/main" id="{02BCC5F2-3C8B-FFD5-9841-AB4F42FCBC6B}"/>
              </a:ext>
            </a:extLst>
          </p:cNvPr>
          <p:cNvSpPr>
            <a:spLocks noGrp="1"/>
          </p:cNvSpPr>
          <p:nvPr>
            <p:ph type="body" sz="quarter" idx="22"/>
          </p:nvPr>
        </p:nvSpPr>
        <p:spPr>
          <a:xfrm>
            <a:off x="519113" y="1122390"/>
            <a:ext cx="3230152" cy="565146"/>
          </a:xfrm>
        </p:spPr>
        <p:txBody>
          <a:bodyPr rtlCol="0"/>
          <a:lstStyle/>
          <a:p>
            <a:pPr rtl="0"/>
            <a:r>
              <a:rPr lang="ro" sz="3200"/>
              <a:t>De la sursă la bandă</a:t>
            </a:r>
          </a:p>
        </p:txBody>
      </p:sp>
      <p:sp>
        <p:nvSpPr>
          <p:cNvPr id="2" name="Slide Number Placeholder 1">
            <a:extLst>
              <a:ext uri="{FF2B5EF4-FFF2-40B4-BE49-F238E27FC236}">
                <a16:creationId xmlns:a16="http://schemas.microsoft.com/office/drawing/2014/main" id="{32E424D4-8BD8-FC14-4F8B-1CE37E97C5C6}"/>
              </a:ext>
            </a:extLst>
          </p:cNvPr>
          <p:cNvSpPr>
            <a:spLocks noGrp="1"/>
          </p:cNvSpPr>
          <p:nvPr>
            <p:ph type="sldNum" sz="quarter" idx="27"/>
          </p:nvPr>
        </p:nvSpPr>
        <p:spPr/>
        <p:txBody>
          <a:bodyPr rtlCol="0"/>
          <a:lstStyle/>
          <a:p>
            <a:pPr rtl="0"/>
            <a:r>
              <a:rPr lang="ro"/>
              <a:t>- </a:t>
            </a:r>
            <a:fld id="{94A6D44E-0BF8-4A10-A708-3AB32E33FA71}" type="slidenum">
              <a:rPr lang="en-US" smtClean="0"/>
              <a:t>3</a:t>
            </a:fld>
            <a:r>
              <a:rPr lang="ro"/>
              <a:t> -</a:t>
            </a:r>
          </a:p>
        </p:txBody>
      </p:sp>
    </p:spTree>
    <p:extLst>
      <p:ext uri="{BB962C8B-B14F-4D97-AF65-F5344CB8AC3E}">
        <p14:creationId xmlns:p14="http://schemas.microsoft.com/office/powerpoint/2010/main" val="3005817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7">
            <a:extLst>
              <a:ext uri="{FF2B5EF4-FFF2-40B4-BE49-F238E27FC236}">
                <a16:creationId xmlns:a16="http://schemas.microsoft.com/office/drawing/2014/main" id="{7F9AE16E-1A6D-6655-44E3-88B1A7213E3E}"/>
              </a:ext>
            </a:extLst>
          </p:cNvPr>
          <p:cNvPicPr>
            <a:picLocks noGrp="1" noChangeAspect="1"/>
          </p:cNvPicPr>
          <p:nvPr>
            <p:ph type="pic" sz="quarter" idx="20"/>
          </p:nvPr>
        </p:nvPicPr>
        <p:blipFill>
          <a:blip r:embed="rId2"/>
          <a:stretch>
            <a:fillRect/>
          </a:stretch>
        </p:blipFill>
        <p:spPr>
          <a:xfrm>
            <a:off x="449964" y="-1"/>
            <a:ext cx="5275039" cy="6427433"/>
          </a:xfrm>
          <a:prstGeom prst="rect">
            <a:avLst/>
          </a:prstGeom>
          <a:solidFill>
            <a:schemeClr val="bg2"/>
          </a:solidFill>
          <a:effectLst/>
        </p:spPr>
      </p:pic>
      <p:sp>
        <p:nvSpPr>
          <p:cNvPr id="3" name="Content Placeholder 2">
            <a:extLst>
              <a:ext uri="{FF2B5EF4-FFF2-40B4-BE49-F238E27FC236}">
                <a16:creationId xmlns:a16="http://schemas.microsoft.com/office/drawing/2014/main" id="{228568A4-5CE2-7FEE-7ED6-85B59E74BE78}"/>
              </a:ext>
            </a:extLst>
          </p:cNvPr>
          <p:cNvSpPr>
            <a:spLocks noGrp="1"/>
          </p:cNvSpPr>
          <p:nvPr>
            <p:ph type="body" sz="quarter" idx="13"/>
          </p:nvPr>
        </p:nvSpPr>
        <p:spPr/>
        <p:txBody>
          <a:bodyPr rtlCol="0">
            <a:normAutofit/>
          </a:bodyPr>
          <a:lstStyle/>
          <a:p>
            <a:pPr rtl="0"/>
            <a:endParaRPr lang="en-US" sz="2400"/>
          </a:p>
          <a:p>
            <a:pPr rtl="0"/>
            <a:endParaRPr lang="en-US" sz="2400"/>
          </a:p>
        </p:txBody>
      </p:sp>
      <p:sp>
        <p:nvSpPr>
          <p:cNvPr id="7" name="Text Placeholder 6">
            <a:extLst>
              <a:ext uri="{FF2B5EF4-FFF2-40B4-BE49-F238E27FC236}">
                <a16:creationId xmlns:a16="http://schemas.microsoft.com/office/drawing/2014/main" id="{DA8FF094-2977-C506-4D95-E194FB654C98}"/>
              </a:ext>
            </a:extLst>
          </p:cNvPr>
          <p:cNvSpPr>
            <a:spLocks noGrp="1"/>
          </p:cNvSpPr>
          <p:nvPr>
            <p:ph type="body" sz="quarter" idx="14"/>
          </p:nvPr>
        </p:nvSpPr>
        <p:spPr>
          <a:xfrm>
            <a:off x="6585147" y="3003280"/>
            <a:ext cx="5264595" cy="2277547"/>
          </a:xfrm>
        </p:spPr>
        <p:txBody>
          <a:bodyPr rtlCol="0"/>
          <a:lstStyle/>
          <a:p>
            <a:pPr marL="285750" indent="-285750" rtl="0">
              <a:spcBef>
                <a:spcPts val="1200"/>
              </a:spcBef>
              <a:buClr>
                <a:schemeClr val="bg1"/>
              </a:buClr>
              <a:buFont typeface="Wingdings" pitchFamily="2" charset="2"/>
              <a:buChar char="§"/>
            </a:pPr>
            <a:r>
              <a:rPr lang="ro" sz="1800"/>
              <a:t>Aceleași specificații ale produsului</a:t>
            </a:r>
          </a:p>
          <a:p>
            <a:pPr marL="285750" indent="-285750" rtl="0">
              <a:spcBef>
                <a:spcPts val="1200"/>
              </a:spcBef>
              <a:buClr>
                <a:schemeClr val="bg1"/>
              </a:buClr>
              <a:buFont typeface="Wingdings" pitchFamily="2" charset="2"/>
              <a:buChar char="§"/>
            </a:pPr>
            <a:r>
              <a:rPr lang="ro" sz="1800"/>
              <a:t>Aceeași performanță cu cea a tesa</a:t>
            </a:r>
            <a:r>
              <a:rPr lang="ro" sz="1800" baseline="30000"/>
              <a:t>®</a:t>
            </a:r>
            <a:r>
              <a:rPr lang="ro" sz="1800"/>
              <a:t> 4965 Original </a:t>
            </a:r>
          </a:p>
          <a:p>
            <a:pPr marL="285750" indent="-285750" rtl="0">
              <a:spcBef>
                <a:spcPts val="1200"/>
              </a:spcBef>
              <a:buClr>
                <a:schemeClr val="bg1"/>
              </a:buClr>
              <a:buFont typeface="Wingdings" pitchFamily="2" charset="2"/>
              <a:buChar char="§"/>
            </a:pPr>
            <a:r>
              <a:rPr lang="ro" sz="1800"/>
              <a:t>Rezistența la tracțiune comparativă a benzii cu suport din PET cu 90% PCR și a suportului original din PET</a:t>
            </a:r>
          </a:p>
          <a:p>
            <a:pPr marL="285750" indent="-285750" rtl="0">
              <a:spcBef>
                <a:spcPts val="1200"/>
              </a:spcBef>
              <a:buClr>
                <a:schemeClr val="bg1"/>
              </a:buClr>
              <a:buFont typeface="Wingdings" pitchFamily="2" charset="2"/>
              <a:buChar char="§"/>
            </a:pPr>
            <a:r>
              <a:rPr lang="ro" sz="1800"/>
              <a:t>Procent egal de alungire</a:t>
            </a:r>
          </a:p>
          <a:p>
            <a:pPr marL="285750" indent="-285750" rtl="0">
              <a:spcBef>
                <a:spcPts val="1200"/>
              </a:spcBef>
              <a:buClr>
                <a:schemeClr val="bg1"/>
              </a:buClr>
              <a:buFont typeface="Wingdings" pitchFamily="2" charset="2"/>
              <a:buChar char="§"/>
            </a:pPr>
            <a:r>
              <a:rPr lang="ro" sz="1800"/>
              <a:t>Aceeași aderență la dezlipire</a:t>
            </a:r>
          </a:p>
        </p:txBody>
      </p:sp>
      <p:sp>
        <p:nvSpPr>
          <p:cNvPr id="2" name="Title 1">
            <a:extLst>
              <a:ext uri="{FF2B5EF4-FFF2-40B4-BE49-F238E27FC236}">
                <a16:creationId xmlns:a16="http://schemas.microsoft.com/office/drawing/2014/main" id="{4559FF16-76CE-35DF-7733-2C8DDF15550E}"/>
              </a:ext>
            </a:extLst>
          </p:cNvPr>
          <p:cNvSpPr>
            <a:spLocks noGrp="1"/>
          </p:cNvSpPr>
          <p:nvPr>
            <p:ph type="title"/>
          </p:nvPr>
        </p:nvSpPr>
        <p:spPr>
          <a:xfrm>
            <a:off x="6585147" y="1336672"/>
            <a:ext cx="5546297" cy="369332"/>
          </a:xfrm>
        </p:spPr>
        <p:txBody>
          <a:bodyPr rtlCol="0">
            <a:normAutofit fontScale="90000"/>
          </a:bodyPr>
          <a:lstStyle/>
          <a:p>
            <a:pPr rtl="0"/>
            <a:r>
              <a:rPr lang="ro" sz="3100" b="1">
                <a:latin typeface="Arial" panose="020B0604020202020204" pitchFamily="34" charset="0"/>
                <a:ea typeface="Calibri" panose="020F0502020204030204" pitchFamily="34" charset="0"/>
              </a:rPr>
              <a:t>tesa</a:t>
            </a:r>
            <a:r>
              <a:rPr lang="ro" sz="3100" b="1" baseline="30000">
                <a:latin typeface="Arial" panose="020B0604020202020204" pitchFamily="34" charset="0"/>
                <a:ea typeface="Calibri" panose="020F0502020204030204" pitchFamily="34" charset="0"/>
              </a:rPr>
              <a:t>®</a:t>
            </a:r>
            <a:r>
              <a:rPr lang="ro" sz="3100" b="1">
                <a:latin typeface="Arial" panose="020B0604020202020204" pitchFamily="34" charset="0"/>
                <a:ea typeface="Calibri" panose="020F0502020204030204" pitchFamily="34" charset="0"/>
              </a:rPr>
              <a:t> 4965 Original Next Gen </a:t>
            </a:r>
            <a:br>
              <a:rPr lang="en-US" sz="3100" b="1">
                <a:latin typeface="Arial" panose="020B0604020202020204" pitchFamily="34" charset="0"/>
                <a:ea typeface="Calibri" panose="020F0502020204030204" pitchFamily="34" charset="0"/>
              </a:rPr>
            </a:br>
            <a:r>
              <a:rPr lang="ro" sz="3100" b="1">
                <a:latin typeface="Arial" panose="020B0604020202020204" pitchFamily="34" charset="0"/>
                <a:ea typeface="Calibri" panose="020F0502020204030204" pitchFamily="34" charset="0"/>
              </a:rPr>
              <a:t>vs tesa</a:t>
            </a:r>
            <a:r>
              <a:rPr lang="ro" sz="3100" b="1" baseline="30000">
                <a:latin typeface="Arial" panose="020B0604020202020204" pitchFamily="34" charset="0"/>
                <a:ea typeface="Calibri" panose="020F0502020204030204" pitchFamily="34" charset="0"/>
              </a:rPr>
              <a:t>®</a:t>
            </a:r>
            <a:r>
              <a:rPr lang="ro" sz="3100" b="1">
                <a:latin typeface="Arial" panose="020B0604020202020204" pitchFamily="34" charset="0"/>
                <a:ea typeface="Calibri" panose="020F0502020204030204" pitchFamily="34" charset="0"/>
              </a:rPr>
              <a:t> 4965 Original</a:t>
            </a:r>
            <a:r>
              <a:rPr lang="ro" sz="3100">
                <a:latin typeface="Arial" panose="020B0604020202020204" pitchFamily="34" charset="0"/>
                <a:ea typeface="Calibri" panose="020F0502020204030204" pitchFamily="34" charset="0"/>
              </a:rPr>
              <a:t> </a:t>
            </a:r>
            <a:br>
              <a:rPr lang="en-US" sz="3200"/>
            </a:br>
            <a:br>
              <a:rPr lang="en-US" sz="100"/>
            </a:br>
            <a:r>
              <a:rPr lang="ro" sz="3000"/>
              <a:t>Aceeași bandă. Aceeași performanță fiabilă.</a:t>
            </a:r>
            <a:endParaRPr lang="en-GB" sz="3000"/>
          </a:p>
        </p:txBody>
      </p:sp>
      <p:sp>
        <p:nvSpPr>
          <p:cNvPr id="6" name="Content Placeholder 2">
            <a:extLst>
              <a:ext uri="{FF2B5EF4-FFF2-40B4-BE49-F238E27FC236}">
                <a16:creationId xmlns:a16="http://schemas.microsoft.com/office/drawing/2014/main" id="{F83262C8-A6AB-7B1B-25AE-165167463CC3}"/>
              </a:ext>
            </a:extLst>
          </p:cNvPr>
          <p:cNvSpPr txBox="1">
            <a:spLocks/>
          </p:cNvSpPr>
          <p:nvPr/>
        </p:nvSpPr>
        <p:spPr>
          <a:xfrm>
            <a:off x="398971" y="2141537"/>
            <a:ext cx="5083206"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endParaRPr lang="en-US"/>
          </a:p>
        </p:txBody>
      </p:sp>
      <p:grpSp>
        <p:nvGrpSpPr>
          <p:cNvPr id="36" name="Gruppieren 52">
            <a:extLst>
              <a:ext uri="{FF2B5EF4-FFF2-40B4-BE49-F238E27FC236}">
                <a16:creationId xmlns:a16="http://schemas.microsoft.com/office/drawing/2014/main" id="{D3E6277B-3A0E-8235-4BEA-98A878079C5C}"/>
              </a:ext>
            </a:extLst>
          </p:cNvPr>
          <p:cNvGrpSpPr>
            <a:grpSpLocks/>
          </p:cNvGrpSpPr>
          <p:nvPr/>
        </p:nvGrpSpPr>
        <p:grpSpPr>
          <a:xfrm>
            <a:off x="10714588" y="263197"/>
            <a:ext cx="1218552" cy="375634"/>
            <a:chOff x="7241394" y="191294"/>
            <a:chExt cx="1717661" cy="529490"/>
          </a:xfrm>
        </p:grpSpPr>
        <p:sp>
          <p:nvSpPr>
            <p:cNvPr id="37" name="Rectangle 1069">
              <a:extLst>
                <a:ext uri="{FF2B5EF4-FFF2-40B4-BE49-F238E27FC236}">
                  <a16:creationId xmlns:a16="http://schemas.microsoft.com/office/drawing/2014/main" id="{39A54B01-0DF5-E2D1-3477-BD4E187AD013}"/>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38" name="AutoShape 4">
              <a:extLst>
                <a:ext uri="{FF2B5EF4-FFF2-40B4-BE49-F238E27FC236}">
                  <a16:creationId xmlns:a16="http://schemas.microsoft.com/office/drawing/2014/main" id="{B907BA25-7C0B-4A4B-EB6C-2E8133D906FD}"/>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9" name="Freeform 6">
              <a:extLst>
                <a:ext uri="{FF2B5EF4-FFF2-40B4-BE49-F238E27FC236}">
                  <a16:creationId xmlns:a16="http://schemas.microsoft.com/office/drawing/2014/main" id="{28C666BE-CD82-F744-AFA3-D90D697A0C4A}"/>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40" name="Freeform 7">
              <a:extLst>
                <a:ext uri="{FF2B5EF4-FFF2-40B4-BE49-F238E27FC236}">
                  <a16:creationId xmlns:a16="http://schemas.microsoft.com/office/drawing/2014/main" id="{D24D10A9-53F2-1DC4-D93E-DAAC6B23F4BF}"/>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1" name="Freeform 8">
              <a:extLst>
                <a:ext uri="{FF2B5EF4-FFF2-40B4-BE49-F238E27FC236}">
                  <a16:creationId xmlns:a16="http://schemas.microsoft.com/office/drawing/2014/main" id="{62439D68-A14E-A79C-17EA-16953054B79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2" name="Freeform 9">
              <a:extLst>
                <a:ext uri="{FF2B5EF4-FFF2-40B4-BE49-F238E27FC236}">
                  <a16:creationId xmlns:a16="http://schemas.microsoft.com/office/drawing/2014/main" id="{626C160E-59C1-B216-780A-40CD623D3146}"/>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3" name="Freeform 10">
              <a:extLst>
                <a:ext uri="{FF2B5EF4-FFF2-40B4-BE49-F238E27FC236}">
                  <a16:creationId xmlns:a16="http://schemas.microsoft.com/office/drawing/2014/main" id="{A58248CF-C6F8-AB72-3BCC-4DD7D4A5AB5C}"/>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4" name="Freeform 11">
              <a:extLst>
                <a:ext uri="{FF2B5EF4-FFF2-40B4-BE49-F238E27FC236}">
                  <a16:creationId xmlns:a16="http://schemas.microsoft.com/office/drawing/2014/main" id="{8DE33EDB-6291-623F-A43A-2607327E68C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4" name="Slide Number Placeholder 3">
            <a:extLst>
              <a:ext uri="{FF2B5EF4-FFF2-40B4-BE49-F238E27FC236}">
                <a16:creationId xmlns:a16="http://schemas.microsoft.com/office/drawing/2014/main" id="{2ABF8F16-97CC-4A9B-1582-E75420638AB9}"/>
              </a:ext>
            </a:extLst>
          </p:cNvPr>
          <p:cNvSpPr>
            <a:spLocks noGrp="1"/>
          </p:cNvSpPr>
          <p:nvPr>
            <p:ph type="sldNum" sz="quarter" idx="18"/>
          </p:nvPr>
        </p:nvSpPr>
        <p:spPr/>
        <p:txBody>
          <a:bodyPr rtlCol="0"/>
          <a:lstStyle/>
          <a:p>
            <a:pPr rtl="0"/>
            <a:r>
              <a:rPr lang="ro"/>
              <a:t>- </a:t>
            </a:r>
            <a:fld id="{94A6D44E-0BF8-4A10-A708-3AB32E33FA71}" type="slidenum">
              <a:rPr lang="en-US" smtClean="0"/>
              <a:t>4</a:t>
            </a:fld>
            <a:r>
              <a:rPr lang="ro"/>
              <a:t> -</a:t>
            </a:r>
          </a:p>
        </p:txBody>
      </p:sp>
    </p:spTree>
    <p:extLst>
      <p:ext uri="{BB962C8B-B14F-4D97-AF65-F5344CB8AC3E}">
        <p14:creationId xmlns:p14="http://schemas.microsoft.com/office/powerpoint/2010/main" val="2507446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03D6433-1300-8912-E8E9-A5F8825474C2}"/>
              </a:ext>
            </a:extLst>
          </p:cNvPr>
          <p:cNvSpPr>
            <a:spLocks noGrp="1"/>
          </p:cNvSpPr>
          <p:nvPr>
            <p:ph type="body" sz="quarter" idx="13"/>
          </p:nvPr>
        </p:nvSpPr>
        <p:spPr>
          <a:xfrm>
            <a:off x="5668362" y="1141595"/>
            <a:ext cx="6392862" cy="1923604"/>
          </a:xfrm>
        </p:spPr>
        <p:txBody>
          <a:bodyPr rtlCol="0"/>
          <a:lstStyle/>
          <a:p>
            <a:pPr rtl="0">
              <a:spcAft>
                <a:spcPts val="600"/>
              </a:spcAft>
            </a:pPr>
            <a:r>
              <a:rPr lang="ro" sz="3200" b="1">
                <a:latin typeface="Arial" panose="020B0604020202020204" pitchFamily="34" charset="0"/>
                <a:ea typeface="Calibri" panose="020F0502020204030204" pitchFamily="34" charset="0"/>
              </a:rPr>
              <a:t>tesa</a:t>
            </a:r>
            <a:r>
              <a:rPr lang="ro" sz="3200" b="1" baseline="30000">
                <a:latin typeface="+mn-lt"/>
                <a:ea typeface="Calibri" panose="020F0502020204030204" pitchFamily="34" charset="0"/>
              </a:rPr>
              <a:t>®</a:t>
            </a:r>
            <a:r>
              <a:rPr lang="ro" sz="3200" b="1">
                <a:latin typeface="Arial" panose="020B0604020202020204" pitchFamily="34" charset="0"/>
                <a:ea typeface="Calibri" panose="020F0502020204030204" pitchFamily="34" charset="0"/>
              </a:rPr>
              <a:t> 4965 Original Next Gen</a:t>
            </a:r>
            <a:r>
              <a:rPr lang="ro" sz="3200">
                <a:latin typeface="Arial" panose="020B0604020202020204" pitchFamily="34" charset="0"/>
                <a:ea typeface="Calibri" panose="020F0502020204030204" pitchFamily="34" charset="0"/>
              </a:rPr>
              <a:t> </a:t>
            </a:r>
            <a:br>
              <a:rPr lang="en-US" sz="3200"/>
            </a:br>
            <a:r>
              <a:rPr lang="ro" sz="2800"/>
              <a:t>100% original. Cu 40%* mai puține emisii de CO</a:t>
            </a:r>
            <a:r>
              <a:rPr lang="ro" sz="2800" baseline="-25000"/>
              <a:t>2</a:t>
            </a:r>
            <a:r>
              <a:rPr lang="ro" sz="2800"/>
              <a:t>. Este logic.</a:t>
            </a:r>
            <a:br>
              <a:rPr lang="en-US" sz="2800"/>
            </a:br>
            <a:endParaRPr lang="en-GB" sz="2800"/>
          </a:p>
          <a:p>
            <a:pPr rtl="0">
              <a:spcAft>
                <a:spcPts val="600"/>
              </a:spcAft>
            </a:pPr>
            <a:endParaRPr lang="en-GB" sz="3200"/>
          </a:p>
        </p:txBody>
      </p:sp>
      <p:sp>
        <p:nvSpPr>
          <p:cNvPr id="14" name="Text Placeholder 13">
            <a:extLst>
              <a:ext uri="{FF2B5EF4-FFF2-40B4-BE49-F238E27FC236}">
                <a16:creationId xmlns:a16="http://schemas.microsoft.com/office/drawing/2014/main" id="{AC0D0E6F-3354-000A-4292-F5967968909A}"/>
              </a:ext>
            </a:extLst>
          </p:cNvPr>
          <p:cNvSpPr>
            <a:spLocks noGrp="1"/>
          </p:cNvSpPr>
          <p:nvPr>
            <p:ph type="body" sz="quarter" idx="15"/>
          </p:nvPr>
        </p:nvSpPr>
        <p:spPr>
          <a:xfrm>
            <a:off x="5731424" y="2742583"/>
            <a:ext cx="5552272" cy="2677656"/>
          </a:xfrm>
        </p:spPr>
        <p:txBody>
          <a:bodyPr rtlCol="0"/>
          <a:lstStyle/>
          <a:p>
            <a:pPr marL="285750" indent="-285750" rtl="0">
              <a:spcAft>
                <a:spcPts val="600"/>
              </a:spcAft>
              <a:buClr>
                <a:srgbClr val="009FDF"/>
              </a:buClr>
              <a:buFont typeface="Wingdings" pitchFamily="2" charset="2"/>
              <a:buChar char="§"/>
            </a:pPr>
            <a:r>
              <a:rPr lang="ro" sz="2200"/>
              <a:t>tesa</a:t>
            </a:r>
            <a:r>
              <a:rPr lang="ro" sz="2400" b="1" baseline="30000">
                <a:latin typeface="+mn-lt"/>
                <a:ea typeface="Calibri" panose="020F0502020204030204" pitchFamily="34" charset="0"/>
              </a:rPr>
              <a:t>®</a:t>
            </a:r>
            <a:r>
              <a:rPr lang="ro" sz="2200"/>
              <a:t> 4965 Original – o bandă de încredere, cu o istorie de patru decenii</a:t>
            </a:r>
          </a:p>
          <a:p>
            <a:pPr marL="285750" indent="-285750" rtl="0">
              <a:spcAft>
                <a:spcPts val="600"/>
              </a:spcAft>
              <a:buClr>
                <a:srgbClr val="009FDF"/>
              </a:buClr>
              <a:buFont typeface="Wingdings" pitchFamily="2" charset="2"/>
              <a:buChar char="§"/>
            </a:pPr>
            <a:r>
              <a:rPr lang="ro" sz="2200"/>
              <a:t>O soluție fiabilă în numeroase industrii și aplicații</a:t>
            </a:r>
          </a:p>
          <a:p>
            <a:pPr marL="285750" indent="-285750" rtl="0">
              <a:spcAft>
                <a:spcPts val="600"/>
              </a:spcAft>
              <a:buClr>
                <a:srgbClr val="009FDF"/>
              </a:buClr>
              <a:buFont typeface="Wingdings" pitchFamily="2" charset="2"/>
              <a:buChar char="§"/>
            </a:pPr>
            <a:r>
              <a:rPr lang="ro" sz="2200"/>
              <a:t>Acum este disponibilă ca noua generație – tesa</a:t>
            </a:r>
            <a:r>
              <a:rPr lang="ro" sz="2200" baseline="30000"/>
              <a:t>®</a:t>
            </a:r>
            <a:r>
              <a:rPr lang="ro" sz="2200"/>
              <a:t> 4965 Next Gen – cu o reducere de 40%* a emisiilor de CO</a:t>
            </a:r>
            <a:r>
              <a:rPr lang="ro" sz="2400" baseline="-25000"/>
              <a:t>2</a:t>
            </a:r>
          </a:p>
        </p:txBody>
      </p:sp>
      <p:sp>
        <p:nvSpPr>
          <p:cNvPr id="8" name="TextBox 7">
            <a:extLst>
              <a:ext uri="{FF2B5EF4-FFF2-40B4-BE49-F238E27FC236}">
                <a16:creationId xmlns:a16="http://schemas.microsoft.com/office/drawing/2014/main" id="{3A0EBB1C-0E5D-AFC0-2B1E-4E9D0D203F01}"/>
              </a:ext>
            </a:extLst>
          </p:cNvPr>
          <p:cNvSpPr txBox="1"/>
          <p:nvPr/>
        </p:nvSpPr>
        <p:spPr>
          <a:xfrm>
            <a:off x="5668362" y="5683997"/>
            <a:ext cx="6021614" cy="584775"/>
          </a:xfrm>
          <a:prstGeom prst="rect">
            <a:avLst/>
          </a:prstGeom>
          <a:noFill/>
        </p:spPr>
        <p:txBody>
          <a:bodyPr wrap="square" rtlCol="0">
            <a:spAutoFit/>
          </a:bodyPr>
          <a:lstStyle/>
          <a:p>
            <a:pPr rtl="0">
              <a:spcAft>
                <a:spcPts val="800"/>
              </a:spcAft>
            </a:pPr>
            <a:r>
              <a:rPr lang="ro" sz="800" kern="0">
                <a:latin typeface="Arial" panose="020B0604020202020204" pitchFamily="34" charset="0"/>
                <a:ea typeface="Calibri" panose="020F0502020204030204" pitchFamily="34" charset="0"/>
                <a:cs typeface="Times New Roman" panose="02020603050405020304" pitchFamily="18" charset="0"/>
              </a:rPr>
              <a:t>*Reducerea amprentei de carbon a produsului (PCF) pentru noua bandă tesa® 4965 Original Next Gen (rolă de mână 50 m x 50 mm, PV0: căptușeală MOPP roșie) în comparație cu banda actuală tesa® 4965 Original (rolă de mână 50 m x 50 mm, PV0: căptușeală MOPP roșie) calculată în 2023 cu valori Cradle-to-Gate, inclusiv absorbția de carbon biogenic. Valorile PCF individuale pentru celelalte tipuri de căptușeli (PV1, PV2, PV4) și informații suplimentare pot fi găsite în calculul nostru comparativ PCF conform ISO 14067 pe tesa.com/4965-report.</a:t>
            </a:r>
            <a:endParaRPr lang="en-GB" sz="800" kern="100">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Placeholder 18" descr="A roll of red tape&#10;&#10;Description automatically generated">
            <a:extLst>
              <a:ext uri="{FF2B5EF4-FFF2-40B4-BE49-F238E27FC236}">
                <a16:creationId xmlns:a16="http://schemas.microsoft.com/office/drawing/2014/main" id="{AC1BFF33-83E0-75A5-268C-FA26E05F921A}"/>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38913" t="4144" r="8408" b="1092"/>
          <a:stretch/>
        </p:blipFill>
        <p:spPr>
          <a:xfrm>
            <a:off x="0" y="0"/>
            <a:ext cx="5283196" cy="6343650"/>
          </a:xfrm>
          <a:prstGeom prst="rect">
            <a:avLst/>
          </a:prstGeom>
        </p:spPr>
      </p:pic>
      <p:sp>
        <p:nvSpPr>
          <p:cNvPr id="2" name="Slide Number Placeholder 1">
            <a:extLst>
              <a:ext uri="{FF2B5EF4-FFF2-40B4-BE49-F238E27FC236}">
                <a16:creationId xmlns:a16="http://schemas.microsoft.com/office/drawing/2014/main" id="{F3875E5D-B2A2-5F14-F916-CD67C3375FB5}"/>
              </a:ext>
            </a:extLst>
          </p:cNvPr>
          <p:cNvSpPr>
            <a:spLocks noGrp="1"/>
          </p:cNvSpPr>
          <p:nvPr>
            <p:ph type="sldNum" sz="quarter" idx="18"/>
          </p:nvPr>
        </p:nvSpPr>
        <p:spPr/>
        <p:txBody>
          <a:bodyPr rtlCol="0"/>
          <a:lstStyle/>
          <a:p>
            <a:pPr rtl="0"/>
            <a:r>
              <a:rPr lang="ro"/>
              <a:t>- </a:t>
            </a:r>
            <a:fld id="{94A6D44E-0BF8-4A10-A708-3AB32E33FA71}" type="slidenum">
              <a:rPr lang="en-US" smtClean="0"/>
              <a:pPr/>
              <a:t>5</a:t>
            </a:fld>
            <a:r>
              <a:rPr lang="ro"/>
              <a:t> -</a:t>
            </a:r>
          </a:p>
        </p:txBody>
      </p:sp>
    </p:spTree>
    <p:extLst>
      <p:ext uri="{BB962C8B-B14F-4D97-AF65-F5344CB8AC3E}">
        <p14:creationId xmlns:p14="http://schemas.microsoft.com/office/powerpoint/2010/main" val="10605170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EAB5C368-7498-B471-137C-14B1324D925E}"/>
              </a:ext>
            </a:extLst>
          </p:cNvPr>
          <p:cNvSpPr txBox="1">
            <a:spLocks/>
          </p:cNvSpPr>
          <p:nvPr/>
        </p:nvSpPr>
        <p:spPr>
          <a:xfrm>
            <a:off x="499685" y="574785"/>
            <a:ext cx="5938185" cy="626701"/>
          </a:xfrm>
          <a:prstGeom prst="rect">
            <a:avLst/>
          </a:prstGeom>
          <a:solidFill>
            <a:schemeClr val="accent5"/>
          </a:solidFill>
        </p:spPr>
        <p:txBody>
          <a:bodyPr vert="horz" wrap="none" lIns="108000" tIns="36000" rIns="108000" bIns="36000" rtlCol="0" anchor="ctr">
            <a:norm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ro" sz="3200" b="1">
                <a:latin typeface="Arial" panose="020B0604020202020204" pitchFamily="34" charset="0"/>
                <a:ea typeface="Calibri" panose="020F0502020204030204" pitchFamily="34" charset="0"/>
              </a:rPr>
              <a:t>tesa</a:t>
            </a:r>
            <a:r>
              <a:rPr lang="ro" sz="3200" b="1" baseline="30000">
                <a:latin typeface="Arial" panose="020B0604020202020204" pitchFamily="34" charset="0"/>
                <a:ea typeface="Calibri" panose="020F0502020204030204" pitchFamily="34" charset="0"/>
              </a:rPr>
              <a:t>®</a:t>
            </a:r>
            <a:r>
              <a:rPr lang="ro" sz="3200" b="1">
                <a:latin typeface="Arial" panose="020B0604020202020204" pitchFamily="34" charset="0"/>
                <a:ea typeface="Calibri" panose="020F0502020204030204" pitchFamily="34" charset="0"/>
              </a:rPr>
              <a:t> 4965 Original Next Gen</a:t>
            </a:r>
            <a:r>
              <a:rPr lang="ro" sz="3200">
                <a:latin typeface="Arial" panose="020B0604020202020204" pitchFamily="34" charset="0"/>
                <a:ea typeface="Calibri" panose="020F0502020204030204" pitchFamily="34" charset="0"/>
              </a:rPr>
              <a:t> </a:t>
            </a:r>
            <a:endParaRPr lang="en-GB" sz="3200"/>
          </a:p>
        </p:txBody>
      </p:sp>
      <p:sp>
        <p:nvSpPr>
          <p:cNvPr id="9" name="Text Placeholder 10">
            <a:extLst>
              <a:ext uri="{FF2B5EF4-FFF2-40B4-BE49-F238E27FC236}">
                <a16:creationId xmlns:a16="http://schemas.microsoft.com/office/drawing/2014/main" id="{40398090-9783-8550-3E21-F7D5F305E0DF}"/>
              </a:ext>
            </a:extLst>
          </p:cNvPr>
          <p:cNvSpPr txBox="1">
            <a:spLocks/>
          </p:cNvSpPr>
          <p:nvPr/>
        </p:nvSpPr>
        <p:spPr>
          <a:xfrm>
            <a:off x="499686" y="1149919"/>
            <a:ext cx="4179130" cy="503590"/>
          </a:xfrm>
          <a:prstGeom prst="rect">
            <a:avLst/>
          </a:prstGeom>
          <a:solidFill>
            <a:schemeClr val="accent5"/>
          </a:solidFill>
        </p:spPr>
        <p:txBody>
          <a:bodyPr vert="horz" wrap="none" lIns="108000" tIns="36000" rIns="108000" bIns="36000" rtlCol="0">
            <a:sp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ro" sz="2800"/>
              <a:t>Aceeași versatilitate în aplicare.</a:t>
            </a:r>
            <a:endParaRPr lang="en-GB" sz="2800"/>
          </a:p>
        </p:txBody>
      </p:sp>
      <p:grpSp>
        <p:nvGrpSpPr>
          <p:cNvPr id="19" name="Group 18">
            <a:extLst>
              <a:ext uri="{FF2B5EF4-FFF2-40B4-BE49-F238E27FC236}">
                <a16:creationId xmlns:a16="http://schemas.microsoft.com/office/drawing/2014/main" id="{F57186CB-EB21-EAAD-ACFD-4B6F21227A43}"/>
              </a:ext>
            </a:extLst>
          </p:cNvPr>
          <p:cNvGrpSpPr/>
          <p:nvPr/>
        </p:nvGrpSpPr>
        <p:grpSpPr>
          <a:xfrm>
            <a:off x="-70588" y="1660657"/>
            <a:ext cx="11521786" cy="4733364"/>
            <a:chOff x="-70588" y="1759511"/>
            <a:chExt cx="11521786" cy="4733364"/>
          </a:xfrm>
        </p:grpSpPr>
        <p:sp>
          <p:nvSpPr>
            <p:cNvPr id="6" name="Content Placeholder 2">
              <a:extLst>
                <a:ext uri="{FF2B5EF4-FFF2-40B4-BE49-F238E27FC236}">
                  <a16:creationId xmlns:a16="http://schemas.microsoft.com/office/drawing/2014/main" id="{F83262C8-A6AB-7B1B-25AE-165167463CC3}"/>
                </a:ext>
              </a:extLst>
            </p:cNvPr>
            <p:cNvSpPr txBox="1">
              <a:spLocks/>
            </p:cNvSpPr>
            <p:nvPr/>
          </p:nvSpPr>
          <p:spPr>
            <a:xfrm>
              <a:off x="-70588" y="2141537"/>
              <a:ext cx="5083206"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endParaRPr lang="en-US">
                <a:solidFill>
                  <a:schemeClr val="bg1"/>
                </a:solidFill>
              </a:endParaRPr>
            </a:p>
          </p:txBody>
        </p:sp>
        <p:sp>
          <p:nvSpPr>
            <p:cNvPr id="22" name="TextBox 21">
              <a:extLst>
                <a:ext uri="{FF2B5EF4-FFF2-40B4-BE49-F238E27FC236}">
                  <a16:creationId xmlns:a16="http://schemas.microsoft.com/office/drawing/2014/main" id="{C2F47ADF-2EDA-A8BC-231A-1517F89CC20E}"/>
                </a:ext>
              </a:extLst>
            </p:cNvPr>
            <p:cNvSpPr txBox="1"/>
            <p:nvPr/>
          </p:nvSpPr>
          <p:spPr>
            <a:xfrm>
              <a:off x="1594020" y="2486626"/>
              <a:ext cx="3342106" cy="1031051"/>
            </a:xfrm>
            <a:prstGeom prst="rect">
              <a:avLst/>
            </a:prstGeom>
            <a:noFill/>
          </p:spPr>
          <p:txBody>
            <a:bodyPr wrap="square" rtlCol="0">
              <a:spAutoFit/>
            </a:bodyPr>
            <a:lstStyle/>
            <a:p>
              <a:pPr rtl="0">
                <a:spcAft>
                  <a:spcPts val="600"/>
                </a:spcAft>
              </a:pPr>
              <a:r>
                <a:rPr lang="ro" sz="2200" b="1">
                  <a:solidFill>
                    <a:schemeClr val="bg1"/>
                  </a:solidFill>
                  <a:latin typeface="Arial" panose="020B0604020202020204" pitchFamily="34" charset="0"/>
                  <a:ea typeface="Calibri" panose="020F0502020204030204" pitchFamily="34" charset="0"/>
                  <a:cs typeface="Arial" panose="020B0604020202020204" pitchFamily="34" charset="0"/>
                </a:rPr>
                <a:t>Aviație</a:t>
              </a:r>
              <a:endParaRPr lang="en-GB" sz="2200" b="1">
                <a:solidFill>
                  <a:schemeClr val="bg1"/>
                </a:solidFill>
                <a:latin typeface="Arial" panose="020B0604020202020204" pitchFamily="34" charset="0"/>
                <a:ea typeface="Calibri" panose="020F0502020204030204" pitchFamily="34" charset="0"/>
                <a:cs typeface="Arial" panose="020B0604020202020204" pitchFamily="34" charset="0"/>
              </a:endParaRPr>
            </a:p>
            <a:p>
              <a:pPr rtl="0">
                <a:spcAft>
                  <a:spcPts val="600"/>
                </a:spcAft>
              </a:pPr>
              <a:r>
                <a:rPr lang="ro" sz="1600">
                  <a:solidFill>
                    <a:schemeClr val="bg1"/>
                  </a:solidFill>
                  <a:latin typeface="Arial" panose="020B0604020202020204" pitchFamily="34" charset="0"/>
                  <a:ea typeface="Calibri" panose="020F0502020204030204" pitchFamily="34" charset="0"/>
                  <a:cs typeface="Arial" panose="020B0604020202020204" pitchFamily="34" charset="0"/>
                </a:rPr>
                <a:t>Fixarea iluminatului cu leduri pe podelele avioanelor comerciale.</a:t>
              </a:r>
              <a:endParaRPr lang="en-GB" sz="1600">
                <a:solidFill>
                  <a:schemeClr val="bg1"/>
                </a:solidFill>
                <a:latin typeface="Calibri" panose="020F0502020204030204" pitchFamily="34" charset="0"/>
                <a:ea typeface="Calibri" panose="020F0502020204030204" pitchFamily="34" charset="0"/>
                <a:cs typeface="Arial" panose="020B0604020202020204" pitchFamily="34" charset="0"/>
              </a:endParaRPr>
            </a:p>
          </p:txBody>
        </p:sp>
        <p:pic>
          <p:nvPicPr>
            <p:cNvPr id="2" name="Graphic 1" descr="Aeroplane outline">
              <a:extLst>
                <a:ext uri="{FF2B5EF4-FFF2-40B4-BE49-F238E27FC236}">
                  <a16:creationId xmlns:a16="http://schemas.microsoft.com/office/drawing/2014/main" id="{9330E3C6-3DD2-864D-ABC1-38102534B8F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1381" y="2570373"/>
              <a:ext cx="709296" cy="709296"/>
            </a:xfrm>
            <a:prstGeom prst="rect">
              <a:avLst/>
            </a:prstGeom>
          </p:spPr>
        </p:pic>
        <p:sp>
          <p:nvSpPr>
            <p:cNvPr id="24" name="TextBox 23">
              <a:extLst>
                <a:ext uri="{FF2B5EF4-FFF2-40B4-BE49-F238E27FC236}">
                  <a16:creationId xmlns:a16="http://schemas.microsoft.com/office/drawing/2014/main" id="{63482750-BED1-86E3-FB61-43B11167E2B4}"/>
                </a:ext>
              </a:extLst>
            </p:cNvPr>
            <p:cNvSpPr txBox="1"/>
            <p:nvPr/>
          </p:nvSpPr>
          <p:spPr>
            <a:xfrm>
              <a:off x="1618732" y="4277234"/>
              <a:ext cx="4263082" cy="1000274"/>
            </a:xfrm>
            <a:prstGeom prst="rect">
              <a:avLst/>
            </a:prstGeom>
            <a:noFill/>
          </p:spPr>
          <p:txBody>
            <a:bodyPr wrap="square" lIns="91440" tIns="45720" rIns="91440" bIns="45720" rtlCol="0" anchor="t">
              <a:spAutoFit/>
            </a:bodyPr>
            <a:lstStyle/>
            <a:p>
              <a:pPr rtl="0">
                <a:spcAft>
                  <a:spcPts val="600"/>
                </a:spcAft>
              </a:pPr>
              <a:r>
                <a:rPr lang="ro" sz="2200" b="1">
                  <a:solidFill>
                    <a:schemeClr val="bg1"/>
                  </a:solidFill>
                  <a:latin typeface="Arial"/>
                  <a:cs typeface="Arial"/>
                </a:rPr>
                <a:t>Punct de vânzare</a:t>
              </a:r>
              <a:endParaRPr lang="en-GB" sz="2200" b="1" dirty="0">
                <a:solidFill>
                  <a:schemeClr val="bg1"/>
                </a:solidFill>
                <a:latin typeface="Arial"/>
                <a:cs typeface="Arial"/>
              </a:endParaRPr>
            </a:p>
            <a:p>
              <a:pPr rtl="0">
                <a:spcAft>
                  <a:spcPts val="600"/>
                </a:spcAft>
              </a:pPr>
              <a:r>
                <a:rPr lang="ro" sz="1600">
                  <a:solidFill>
                    <a:schemeClr val="bg1"/>
                  </a:solidFill>
                  <a:latin typeface="Arial"/>
                  <a:cs typeface="Arial"/>
                </a:rPr>
                <a:t>Asigurarea afișajelor de prețuri într-un mediu de </a:t>
              </a:r>
              <a:br>
                <a:rPr lang="en-US" sz="1600" dirty="0">
                  <a:latin typeface="Arial" panose="020B0604020202020204" pitchFamily="34" charset="0"/>
                  <a:cs typeface="Arial" panose="020B0604020202020204" pitchFamily="34" charset="0"/>
                </a:rPr>
              </a:br>
              <a:r>
                <a:rPr lang="ro" sz="1600">
                  <a:solidFill>
                    <a:schemeClr val="bg1"/>
                  </a:solidFill>
                  <a:latin typeface="Arial"/>
                  <a:cs typeface="Arial"/>
                </a:rPr>
                <a:t>vânzare cu amănuntul.</a:t>
              </a:r>
              <a:endParaRPr lang="en-GB" sz="1600" dirty="0">
                <a:solidFill>
                  <a:schemeClr val="bg1"/>
                </a:solidFill>
                <a:latin typeface="Arial"/>
                <a:cs typeface="Arial"/>
              </a:endParaRPr>
            </a:p>
          </p:txBody>
        </p:sp>
        <p:pic>
          <p:nvPicPr>
            <p:cNvPr id="3" name="Graphic 2" descr="Shopping basket outline">
              <a:extLst>
                <a:ext uri="{FF2B5EF4-FFF2-40B4-BE49-F238E27FC236}">
                  <a16:creationId xmlns:a16="http://schemas.microsoft.com/office/drawing/2014/main" id="{F5E42A15-A3C2-7358-FC1A-925A9E6B4F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7590" y="4176750"/>
              <a:ext cx="709296" cy="709296"/>
            </a:xfrm>
            <a:prstGeom prst="rect">
              <a:avLst/>
            </a:prstGeom>
          </p:spPr>
        </p:pic>
        <p:sp>
          <p:nvSpPr>
            <p:cNvPr id="30" name="TextBox 29">
              <a:extLst>
                <a:ext uri="{FF2B5EF4-FFF2-40B4-BE49-F238E27FC236}">
                  <a16:creationId xmlns:a16="http://schemas.microsoft.com/office/drawing/2014/main" id="{7140B596-2505-FA05-D965-02B20FA0143E}"/>
                </a:ext>
              </a:extLst>
            </p:cNvPr>
            <p:cNvSpPr txBox="1"/>
            <p:nvPr/>
          </p:nvSpPr>
          <p:spPr>
            <a:xfrm>
              <a:off x="7278127" y="1759511"/>
              <a:ext cx="3915116" cy="754053"/>
            </a:xfrm>
            <a:prstGeom prst="rect">
              <a:avLst/>
            </a:prstGeom>
            <a:noFill/>
          </p:spPr>
          <p:txBody>
            <a:bodyPr wrap="square" lIns="91440" tIns="45720" rIns="91440" bIns="45720" rtlCol="0" anchor="t">
              <a:spAutoFit/>
            </a:bodyPr>
            <a:lstStyle/>
            <a:p>
              <a:pPr rtl="0">
                <a:spcAft>
                  <a:spcPts val="600"/>
                </a:spcAft>
              </a:pPr>
              <a:r>
                <a:rPr lang="ro" sz="2200" b="1">
                  <a:solidFill>
                    <a:schemeClr val="bg1"/>
                  </a:solidFill>
                  <a:latin typeface="Arial"/>
                  <a:cs typeface="Arial"/>
                </a:rPr>
                <a:t>Dispozitive electronice</a:t>
              </a:r>
              <a:endParaRPr lang="en-GB" sz="2200" b="1" dirty="0">
                <a:solidFill>
                  <a:schemeClr val="bg1"/>
                </a:solidFill>
                <a:latin typeface="Arial"/>
                <a:cs typeface="Arial"/>
              </a:endParaRPr>
            </a:p>
            <a:p>
              <a:pPr rtl="0">
                <a:spcAft>
                  <a:spcPts val="600"/>
                </a:spcAft>
              </a:pPr>
              <a:r>
                <a:rPr lang="ro" sz="1600">
                  <a:solidFill>
                    <a:schemeClr val="bg1"/>
                  </a:solidFill>
                  <a:latin typeface="Arial"/>
                  <a:cs typeface="Arial"/>
                </a:rPr>
                <a:t>Securizarea componentelor mici (și dificile).</a:t>
              </a:r>
              <a:endParaRPr lang="en-GB" sz="1600" dirty="0">
                <a:solidFill>
                  <a:schemeClr val="bg1"/>
                </a:solidFill>
                <a:latin typeface="Arial"/>
                <a:cs typeface="Arial"/>
              </a:endParaRPr>
            </a:p>
          </p:txBody>
        </p:sp>
        <p:pic>
          <p:nvPicPr>
            <p:cNvPr id="4" name="Graphic 3" descr="Smart Phone outline">
              <a:extLst>
                <a:ext uri="{FF2B5EF4-FFF2-40B4-BE49-F238E27FC236}">
                  <a16:creationId xmlns:a16="http://schemas.microsoft.com/office/drawing/2014/main" id="{205EDB55-B63C-72E4-3B0C-0038A5D5B6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4834" y="1828965"/>
              <a:ext cx="709296" cy="709296"/>
            </a:xfrm>
            <a:prstGeom prst="rect">
              <a:avLst/>
            </a:prstGeom>
          </p:spPr>
        </p:pic>
        <p:sp>
          <p:nvSpPr>
            <p:cNvPr id="26" name="TextBox 25">
              <a:extLst>
                <a:ext uri="{FF2B5EF4-FFF2-40B4-BE49-F238E27FC236}">
                  <a16:creationId xmlns:a16="http://schemas.microsoft.com/office/drawing/2014/main" id="{EDF996F6-3CB3-7D67-E119-C579664F49EF}"/>
                </a:ext>
              </a:extLst>
            </p:cNvPr>
            <p:cNvSpPr txBox="1"/>
            <p:nvPr/>
          </p:nvSpPr>
          <p:spPr>
            <a:xfrm>
              <a:off x="7278127" y="3207280"/>
              <a:ext cx="3398107" cy="754053"/>
            </a:xfrm>
            <a:prstGeom prst="rect">
              <a:avLst/>
            </a:prstGeom>
            <a:noFill/>
          </p:spPr>
          <p:txBody>
            <a:bodyPr wrap="square" lIns="91440" tIns="45720" rIns="91440" bIns="45720" rtlCol="0" anchor="t">
              <a:spAutoFit/>
            </a:bodyPr>
            <a:lstStyle/>
            <a:p>
              <a:pPr rtl="0">
                <a:spcAft>
                  <a:spcPts val="600"/>
                </a:spcAft>
              </a:pPr>
              <a:r>
                <a:rPr lang="ro" sz="2200" b="1">
                  <a:solidFill>
                    <a:schemeClr val="bg1"/>
                  </a:solidFill>
                  <a:latin typeface="Arial"/>
                  <a:cs typeface="Arial"/>
                </a:rPr>
                <a:t>Logistică</a:t>
              </a:r>
              <a:endParaRPr lang="en-GB" sz="2200" b="1" dirty="0">
                <a:solidFill>
                  <a:schemeClr val="bg1"/>
                </a:solidFill>
                <a:latin typeface="Arial"/>
                <a:cs typeface="Arial"/>
              </a:endParaRPr>
            </a:p>
            <a:p>
              <a:pPr rtl="0">
                <a:spcAft>
                  <a:spcPts val="600"/>
                </a:spcAft>
              </a:pPr>
              <a:r>
                <a:rPr lang="ro" sz="1600">
                  <a:solidFill>
                    <a:schemeClr val="bg1"/>
                  </a:solidFill>
                  <a:latin typeface="Arial"/>
                  <a:cs typeface="Arial"/>
                </a:rPr>
                <a:t>Închiderea ambalajului.</a:t>
              </a:r>
              <a:endParaRPr lang="en-GB" sz="1600" dirty="0">
                <a:solidFill>
                  <a:schemeClr val="bg1"/>
                </a:solidFill>
                <a:latin typeface="Arial"/>
                <a:cs typeface="Arial"/>
              </a:endParaRPr>
            </a:p>
          </p:txBody>
        </p:sp>
        <p:pic>
          <p:nvPicPr>
            <p:cNvPr id="5" name="Graphic 4" descr="Box outline">
              <a:extLst>
                <a:ext uri="{FF2B5EF4-FFF2-40B4-BE49-F238E27FC236}">
                  <a16:creationId xmlns:a16="http://schemas.microsoft.com/office/drawing/2014/main" id="{A6A752D8-8FC2-B6F5-8826-E6CE83539F7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503197" y="3249995"/>
              <a:ext cx="709296" cy="709296"/>
            </a:xfrm>
            <a:prstGeom prst="rect">
              <a:avLst/>
            </a:prstGeom>
          </p:spPr>
        </p:pic>
        <p:sp>
          <p:nvSpPr>
            <p:cNvPr id="28" name="TextBox 27">
              <a:extLst>
                <a:ext uri="{FF2B5EF4-FFF2-40B4-BE49-F238E27FC236}">
                  <a16:creationId xmlns:a16="http://schemas.microsoft.com/office/drawing/2014/main" id="{8DD04C9A-E4C4-9C3C-CC8B-42D43D188DD3}"/>
                </a:ext>
              </a:extLst>
            </p:cNvPr>
            <p:cNvSpPr txBox="1"/>
            <p:nvPr/>
          </p:nvSpPr>
          <p:spPr>
            <a:xfrm>
              <a:off x="7278127" y="4620253"/>
              <a:ext cx="4173071" cy="1338828"/>
            </a:xfrm>
            <a:prstGeom prst="rect">
              <a:avLst/>
            </a:prstGeom>
            <a:noFill/>
            <a:ln w="41672" cap="flat">
              <a:noFill/>
              <a:prstDash val="solid"/>
              <a:miter/>
            </a:ln>
          </p:spPr>
          <p:txBody>
            <a:bodyPr wrap="square" lIns="91440" tIns="45720" rIns="91440" bIns="45720" rtlCol="0" anchor="t">
              <a:spAutoFit/>
            </a:bodyPr>
            <a:lstStyle/>
            <a:p>
              <a:pPr rtl="0">
                <a:spcAft>
                  <a:spcPts val="600"/>
                </a:spcAft>
              </a:pPr>
              <a:r>
                <a:rPr lang="ro" sz="2200" b="1">
                  <a:solidFill>
                    <a:schemeClr val="bg1"/>
                  </a:solidFill>
                  <a:latin typeface="Arial"/>
                  <a:cs typeface="Arial"/>
                </a:rPr>
                <a:t>Componente pentru construcții și mobilier</a:t>
              </a:r>
              <a:endParaRPr lang="en-GB" sz="2200" b="1" dirty="0">
                <a:solidFill>
                  <a:schemeClr val="bg1"/>
                </a:solidFill>
                <a:latin typeface="Arial" panose="020B0604020202020204" pitchFamily="34" charset="0"/>
                <a:cs typeface="Arial" panose="020B0604020202020204" pitchFamily="34" charset="0"/>
              </a:endParaRPr>
            </a:p>
            <a:p>
              <a:pPr rtl="0">
                <a:spcAft>
                  <a:spcPts val="600"/>
                </a:spcAft>
              </a:pPr>
              <a:r>
                <a:rPr lang="ro" sz="1600">
                  <a:solidFill>
                    <a:schemeClr val="bg1"/>
                  </a:solidFill>
                  <a:latin typeface="Arial"/>
                  <a:cs typeface="Arial"/>
                </a:rPr>
                <a:t>Siguranță maximă de lipire pentru </a:t>
              </a:r>
              <a:br>
                <a:rPr lang="en-US" sz="1600" dirty="0">
                  <a:latin typeface="Arial" panose="020B0604020202020204" pitchFamily="34" charset="0"/>
                  <a:cs typeface="Arial" panose="020B0604020202020204" pitchFamily="34" charset="0"/>
                </a:rPr>
              </a:br>
              <a:r>
                <a:rPr lang="ro" sz="1600" spc="-20">
                  <a:solidFill>
                    <a:schemeClr val="bg1"/>
                  </a:solidFill>
                  <a:latin typeface="Arial"/>
                  <a:cs typeface="Arial"/>
                </a:rPr>
                <a:t>elemente de mobilier și amenajări </a:t>
              </a:r>
              <a:r>
                <a:rPr lang="ro" sz="1600">
                  <a:solidFill>
                    <a:schemeClr val="bg1"/>
                  </a:solidFill>
                  <a:latin typeface="Arial"/>
                  <a:cs typeface="Arial"/>
                </a:rPr>
                <a:t>interioare.</a:t>
              </a:r>
              <a:endParaRPr lang="en-GB" sz="1600" dirty="0">
                <a:solidFill>
                  <a:schemeClr val="bg1"/>
                </a:solidFill>
                <a:latin typeface="Arial"/>
                <a:cs typeface="Arial"/>
              </a:endParaRPr>
            </a:p>
          </p:txBody>
        </p:sp>
        <p:pic>
          <p:nvPicPr>
            <p:cNvPr id="7" name="Graphic 6" descr="Hammer outline">
              <a:extLst>
                <a:ext uri="{FF2B5EF4-FFF2-40B4-BE49-F238E27FC236}">
                  <a16:creationId xmlns:a16="http://schemas.microsoft.com/office/drawing/2014/main" id="{FDDA1509-C7CA-9C9F-2A03-EB2EA2F8CF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62577" y="4638887"/>
              <a:ext cx="649809" cy="649809"/>
            </a:xfrm>
            <a:prstGeom prst="rect">
              <a:avLst/>
            </a:prstGeom>
          </p:spPr>
        </p:pic>
      </p:grpSp>
      <p:sp>
        <p:nvSpPr>
          <p:cNvPr id="10" name="Slide Number Placeholder 9">
            <a:extLst>
              <a:ext uri="{FF2B5EF4-FFF2-40B4-BE49-F238E27FC236}">
                <a16:creationId xmlns:a16="http://schemas.microsoft.com/office/drawing/2014/main" id="{4A1052C1-97A9-4F49-27FB-50EE3E92FE8F}"/>
              </a:ext>
            </a:extLst>
          </p:cNvPr>
          <p:cNvSpPr>
            <a:spLocks noGrp="1"/>
          </p:cNvSpPr>
          <p:nvPr>
            <p:ph type="sldNum" sz="quarter" idx="12"/>
          </p:nvPr>
        </p:nvSpPr>
        <p:spPr/>
        <p:txBody>
          <a:bodyPr rtlCol="0"/>
          <a:lstStyle/>
          <a:p>
            <a:pPr rtl="0"/>
            <a:r>
              <a:rPr lang="ro"/>
              <a:t>- </a:t>
            </a:r>
            <a:fld id="{94A6D44E-0BF8-4A10-A708-3AB32E33FA71}" type="slidenum">
              <a:rPr lang="en-US" smtClean="0"/>
              <a:t>6</a:t>
            </a:fld>
            <a:r>
              <a:rPr lang="ro"/>
              <a:t> -</a:t>
            </a:r>
          </a:p>
        </p:txBody>
      </p:sp>
    </p:spTree>
    <p:extLst>
      <p:ext uri="{BB962C8B-B14F-4D97-AF65-F5344CB8AC3E}">
        <p14:creationId xmlns:p14="http://schemas.microsoft.com/office/powerpoint/2010/main" val="1156536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03D6433-1300-8912-E8E9-A5F8825474C2}"/>
              </a:ext>
            </a:extLst>
          </p:cNvPr>
          <p:cNvSpPr>
            <a:spLocks noGrp="1"/>
          </p:cNvSpPr>
          <p:nvPr>
            <p:ph type="body" sz="quarter" idx="13"/>
          </p:nvPr>
        </p:nvSpPr>
        <p:spPr>
          <a:xfrm>
            <a:off x="5668362" y="1141595"/>
            <a:ext cx="6392862" cy="1254267"/>
          </a:xfrm>
        </p:spPr>
        <p:txBody>
          <a:bodyPr rtlCol="0"/>
          <a:lstStyle/>
          <a:p>
            <a:pPr rtl="0">
              <a:spcAft>
                <a:spcPts val="600"/>
              </a:spcAft>
            </a:pPr>
            <a:r>
              <a:rPr lang="ro" sz="3200" b="1" dirty="0">
                <a:latin typeface="Arial" panose="020B0604020202020204" pitchFamily="34" charset="0"/>
                <a:ea typeface="Calibri" panose="020F0502020204030204" pitchFamily="34" charset="0"/>
              </a:rPr>
              <a:t>tesa</a:t>
            </a:r>
            <a:r>
              <a:rPr lang="ro" sz="3200" b="1" baseline="30000" dirty="0">
                <a:solidFill>
                  <a:srgbClr val="000000"/>
                </a:solidFill>
                <a:latin typeface="Arial" panose="020B0604020202020204" pitchFamily="34" charset="0"/>
                <a:ea typeface="Calibri" panose="020F0502020204030204" pitchFamily="34" charset="0"/>
              </a:rPr>
              <a:t>®</a:t>
            </a:r>
            <a:r>
              <a:rPr lang="ro" sz="3200" b="1" dirty="0">
                <a:latin typeface="Arial" panose="020B0604020202020204" pitchFamily="34" charset="0"/>
                <a:ea typeface="Calibri" panose="020F0502020204030204" pitchFamily="34" charset="0"/>
              </a:rPr>
              <a:t> 4965 Original Next Gen</a:t>
            </a:r>
            <a:r>
              <a:rPr lang="ro" sz="3200" dirty="0">
                <a:latin typeface="Arial" panose="020B0604020202020204" pitchFamily="34" charset="0"/>
                <a:ea typeface="Calibri" panose="020F0502020204030204" pitchFamily="34" charset="0"/>
              </a:rPr>
              <a:t> </a:t>
            </a:r>
            <a:br>
              <a:rPr lang="en-US" sz="3200" dirty="0"/>
            </a:br>
            <a:r>
              <a:rPr lang="ro" sz="2000" dirty="0"/>
              <a:t>Aceeași performanță fiabilă. Cu 40%* mai puține emisii de CO</a:t>
            </a:r>
            <a:r>
              <a:rPr lang="ro" sz="2000" baseline="-25000" dirty="0"/>
              <a:t>2</a:t>
            </a:r>
            <a:r>
              <a:rPr lang="ro" sz="2000" dirty="0"/>
              <a:t>. </a:t>
            </a:r>
            <a:br>
              <a:rPr lang="ro" sz="2000" dirty="0"/>
            </a:br>
            <a:r>
              <a:rPr lang="ro" sz="2000" dirty="0"/>
              <a:t>Este logic.</a:t>
            </a:r>
            <a:br>
              <a:rPr lang="en-US" sz="2800" dirty="0"/>
            </a:br>
            <a:endParaRPr lang="en-GB" sz="2800" dirty="0"/>
          </a:p>
          <a:p>
            <a:pPr rtl="0">
              <a:spcAft>
                <a:spcPts val="600"/>
              </a:spcAft>
            </a:pPr>
            <a:endParaRPr lang="en-GB" sz="3200" dirty="0"/>
          </a:p>
        </p:txBody>
      </p:sp>
      <p:sp>
        <p:nvSpPr>
          <p:cNvPr id="14" name="Text Placeholder 13">
            <a:extLst>
              <a:ext uri="{FF2B5EF4-FFF2-40B4-BE49-F238E27FC236}">
                <a16:creationId xmlns:a16="http://schemas.microsoft.com/office/drawing/2014/main" id="{AC0D0E6F-3354-000A-4292-F5967968909A}"/>
              </a:ext>
            </a:extLst>
          </p:cNvPr>
          <p:cNvSpPr>
            <a:spLocks noGrp="1"/>
          </p:cNvSpPr>
          <p:nvPr>
            <p:ph type="body" sz="quarter" idx="15"/>
          </p:nvPr>
        </p:nvSpPr>
        <p:spPr>
          <a:xfrm>
            <a:off x="5731424" y="2287021"/>
            <a:ext cx="5854480" cy="2923877"/>
          </a:xfrm>
        </p:spPr>
        <p:txBody>
          <a:bodyPr vert="horz" wrap="square" lIns="0" tIns="0" rIns="0" bIns="0" rtlCol="0" anchor="t">
            <a:spAutoFit/>
          </a:bodyPr>
          <a:lstStyle/>
          <a:p>
            <a:pPr rtl="0"/>
            <a:r>
              <a:rPr lang="ro" sz="1800" dirty="0">
                <a:cs typeface="Arial"/>
              </a:rPr>
              <a:t>Proprietățile similare și valorile de aderență conferă noii benzi tesa</a:t>
            </a:r>
            <a:r>
              <a:rPr lang="ro" sz="1800" b="1" baseline="30000" dirty="0">
                <a:solidFill>
                  <a:srgbClr val="000000"/>
                </a:solidFill>
                <a:latin typeface="Arial"/>
                <a:ea typeface="Calibri"/>
                <a:cs typeface="Arial"/>
              </a:rPr>
              <a:t>®</a:t>
            </a:r>
            <a:r>
              <a:rPr lang="ro" sz="1800" dirty="0">
                <a:cs typeface="Arial"/>
              </a:rPr>
              <a:t>4965 Original Next Gen același avantaj în performanță în comparație cu alte soluții adezive, precum </a:t>
            </a:r>
            <a:endParaRPr lang="en-US" sz="1800" dirty="0"/>
          </a:p>
          <a:p>
            <a:pPr rtl="0"/>
            <a:r>
              <a:rPr lang="ro" sz="1800" dirty="0">
                <a:cs typeface="Arial"/>
              </a:rPr>
              <a:t>tesa</a:t>
            </a:r>
            <a:r>
              <a:rPr lang="ro" sz="1800" b="1" baseline="30000" dirty="0">
                <a:solidFill>
                  <a:srgbClr val="000000"/>
                </a:solidFill>
                <a:latin typeface="Arial"/>
                <a:ea typeface="Calibri"/>
                <a:cs typeface="Arial"/>
              </a:rPr>
              <a:t>®</a:t>
            </a:r>
            <a:r>
              <a:rPr lang="ro" sz="1800" dirty="0">
                <a:cs typeface="Arial"/>
              </a:rPr>
              <a:t>4965 Original. </a:t>
            </a:r>
            <a:endParaRPr lang="en-US" sz="1800" dirty="0"/>
          </a:p>
          <a:p>
            <a:pPr rtl="0"/>
            <a:r>
              <a:rPr lang="ro" sz="1800" dirty="0">
                <a:cs typeface="Arial"/>
              </a:rPr>
              <a:t>Cu experiența pe care am acumulat-o de-a lungul decadelor în industrie și cu accentul deosebit pe care îl punem pe sustenabilitate, ne îndreptăm către dezvoltarea unei game de produse mai sustenabile. Este logic.</a:t>
            </a:r>
          </a:p>
          <a:p>
            <a:pPr rtl="0"/>
            <a:endParaRPr lang="en-US" sz="400" dirty="0"/>
          </a:p>
          <a:p>
            <a:pPr rtl="0"/>
            <a:r>
              <a:rPr lang="ro" sz="2000" b="1" dirty="0">
                <a:solidFill>
                  <a:schemeClr val="bg1"/>
                </a:solidFill>
                <a:highlight>
                  <a:srgbClr val="009FDF"/>
                </a:highlight>
                <a:cs typeface="Arial"/>
              </a:rPr>
              <a:t>Vizitați pagina tesa</a:t>
            </a:r>
            <a:r>
              <a:rPr lang="ro" sz="2000" b="1" baseline="30000" dirty="0">
                <a:solidFill>
                  <a:srgbClr val="FFFFFF"/>
                </a:solidFill>
                <a:highlight>
                  <a:srgbClr val="009FDF"/>
                </a:highlight>
                <a:latin typeface="Arial"/>
                <a:ea typeface="Calibri"/>
                <a:cs typeface="Arial"/>
              </a:rPr>
              <a:t>® </a:t>
            </a:r>
            <a:r>
              <a:rPr lang="ro" sz="2000" b="1" dirty="0">
                <a:solidFill>
                  <a:schemeClr val="bg1"/>
                </a:solidFill>
                <a:highlight>
                  <a:srgbClr val="009FDF"/>
                </a:highlight>
                <a:cs typeface="Arial"/>
              </a:rPr>
              <a:t>4965 Original Next Gen pentru a afla mai multe informații.</a:t>
            </a:r>
            <a:endParaRPr lang="en-GB" sz="2000" b="1" dirty="0">
              <a:solidFill>
                <a:schemeClr val="bg1"/>
              </a:solidFill>
              <a:highlight>
                <a:srgbClr val="009FDF"/>
              </a:highlight>
            </a:endParaRPr>
          </a:p>
        </p:txBody>
      </p:sp>
      <p:sp>
        <p:nvSpPr>
          <p:cNvPr id="8" name="TextBox 7">
            <a:extLst>
              <a:ext uri="{FF2B5EF4-FFF2-40B4-BE49-F238E27FC236}">
                <a16:creationId xmlns:a16="http://schemas.microsoft.com/office/drawing/2014/main" id="{3A0EBB1C-0E5D-AFC0-2B1E-4E9D0D203F01}"/>
              </a:ext>
            </a:extLst>
          </p:cNvPr>
          <p:cNvSpPr txBox="1"/>
          <p:nvPr/>
        </p:nvSpPr>
        <p:spPr>
          <a:xfrm>
            <a:off x="5668362" y="5757149"/>
            <a:ext cx="6021614" cy="584775"/>
          </a:xfrm>
          <a:prstGeom prst="rect">
            <a:avLst/>
          </a:prstGeom>
          <a:noFill/>
        </p:spPr>
        <p:txBody>
          <a:bodyPr wrap="square" lIns="91440" tIns="45720" rIns="91440" bIns="45720" rtlCol="0" anchor="t">
            <a:spAutoFit/>
          </a:bodyPr>
          <a:lstStyle/>
          <a:p>
            <a:pPr rtl="0">
              <a:spcAft>
                <a:spcPts val="800"/>
              </a:spcAft>
            </a:pPr>
            <a:r>
              <a:rPr lang="ro" sz="800" kern="0">
                <a:latin typeface="Arial"/>
                <a:ea typeface="Calibri"/>
                <a:cs typeface="Times New Roman"/>
              </a:rPr>
              <a:t>*Reducerea amprentei de carbon a produsului (PCF) pentru noua bandă tesa® 4965 Original Next Gen (rolă de mână 50 m x 50 mm, PV0: căptușeală MOPP roșie) în comparație cu banda actuală tesa® 4965 Original (rolă de mână 50 m x 50 mm, PV0: căptușeală MOPP roșie) calculată în 2023 cu valori Cradle-to-Gate, inclusiv absorbția de carbon biogenic. Valorile PCF individuale pentru celelalte tipuri de căptușeli (PV1, PV2, PV4) și informații suplimentare pot fi găsite în calculul nostru comparativ PCF conform ISO 14067 pe </a:t>
            </a:r>
            <a:r>
              <a:rPr lang="ro" sz="800" kern="0">
                <a:latin typeface="Arial"/>
                <a:ea typeface="Calibri"/>
                <a:cs typeface="Times New Roman"/>
                <a:hlinkClick r:id="rId2"/>
              </a:rPr>
              <a:t>tesa.com/4965-report</a:t>
            </a:r>
            <a:r>
              <a:rPr lang="ro" sz="800" kern="0">
                <a:latin typeface="Arial"/>
                <a:ea typeface="Calibri"/>
                <a:cs typeface="Times New Roman"/>
              </a:rPr>
              <a:t>.</a:t>
            </a:r>
            <a:endParaRPr lang="en-GB" sz="800" kern="100" dirty="0">
              <a:latin typeface="Arial"/>
              <a:ea typeface="Calibri"/>
              <a:cs typeface="Times New Roman"/>
            </a:endParaRPr>
          </a:p>
        </p:txBody>
      </p:sp>
      <p:pic>
        <p:nvPicPr>
          <p:cNvPr id="4" name="Picture Placeholder 3" descr="A person in a lab coat holding a dropper&#10;&#10;Description automatically generated">
            <a:extLst>
              <a:ext uri="{FF2B5EF4-FFF2-40B4-BE49-F238E27FC236}">
                <a16:creationId xmlns:a16="http://schemas.microsoft.com/office/drawing/2014/main" id="{1C22ED7D-08CA-0359-E6EF-D3BD442BB7CF}"/>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27830" t="3655" r="18612"/>
          <a:stretch/>
        </p:blipFill>
        <p:spPr>
          <a:xfrm flipH="1">
            <a:off x="0" y="0"/>
            <a:ext cx="5283196" cy="6343650"/>
          </a:xfrm>
          <a:prstGeom prst="rect">
            <a:avLst/>
          </a:prstGeom>
        </p:spPr>
      </p:pic>
      <p:sp>
        <p:nvSpPr>
          <p:cNvPr id="2" name="Slide Number Placeholder 1">
            <a:extLst>
              <a:ext uri="{FF2B5EF4-FFF2-40B4-BE49-F238E27FC236}">
                <a16:creationId xmlns:a16="http://schemas.microsoft.com/office/drawing/2014/main" id="{F507D9CE-4FB2-DFAB-925A-9BB390BDEE64}"/>
              </a:ext>
            </a:extLst>
          </p:cNvPr>
          <p:cNvSpPr>
            <a:spLocks noGrp="1"/>
          </p:cNvSpPr>
          <p:nvPr>
            <p:ph type="sldNum" sz="quarter" idx="18"/>
          </p:nvPr>
        </p:nvSpPr>
        <p:spPr/>
        <p:txBody>
          <a:bodyPr rtlCol="0"/>
          <a:lstStyle/>
          <a:p>
            <a:pPr rtl="0"/>
            <a:r>
              <a:rPr lang="ro"/>
              <a:t>- </a:t>
            </a:r>
            <a:fld id="{94A6D44E-0BF8-4A10-A708-3AB32E33FA71}" type="slidenum">
              <a:rPr lang="en-US" smtClean="0"/>
              <a:pPr/>
              <a:t>7</a:t>
            </a:fld>
            <a:r>
              <a:rPr lang="ro"/>
              <a:t> -</a:t>
            </a:r>
          </a:p>
        </p:txBody>
      </p:sp>
    </p:spTree>
    <p:extLst>
      <p:ext uri="{BB962C8B-B14F-4D97-AF65-F5344CB8AC3E}">
        <p14:creationId xmlns:p14="http://schemas.microsoft.com/office/powerpoint/2010/main" val="13290957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336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SLIDE_COUNT" val="6"/>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tesa_16x9">
  <a:themeElements>
    <a:clrScheme name="Benutzerdefiniert 3">
      <a:dk1>
        <a:srgbClr val="373737"/>
      </a:dk1>
      <a:lt1>
        <a:sysClr val="window" lastClr="FFFFFF"/>
      </a:lt1>
      <a:dk2>
        <a:srgbClr val="373737"/>
      </a:dk2>
      <a:lt2>
        <a:srgbClr val="DADADA"/>
      </a:lt2>
      <a:accent1>
        <a:srgbClr val="0F377F"/>
      </a:accent1>
      <a:accent2>
        <a:srgbClr val="B2CDE6"/>
      </a:accent2>
      <a:accent3>
        <a:srgbClr val="87B4D8"/>
      </a:accent3>
      <a:accent4>
        <a:srgbClr val="DFF2FD"/>
      </a:accent4>
      <a:accent5>
        <a:srgbClr val="009FDF"/>
      </a:accent5>
      <a:accent6>
        <a:srgbClr val="E3000F"/>
      </a:accent6>
      <a:hlink>
        <a:srgbClr val="009FDF"/>
      </a:hlink>
      <a:folHlink>
        <a:srgbClr val="E3000F"/>
      </a:folHlink>
    </a:clrScheme>
    <a:fontScheme name="tesa">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t"/>
      <a:lstStyle>
        <a:defPPr>
          <a:defRPr dirty="0" err="1"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latin typeface="Arial" panose="020B0604020202020204" pitchFamily="34" charset="0"/>
            <a:cs typeface="Arial" panose="020B0604020202020204" pitchFamily="34" charset="0"/>
          </a:defRPr>
        </a:defPPr>
      </a:lstStyle>
    </a:txDef>
  </a:objectDefaults>
  <a:extraClrSchemeLst/>
  <a:custClrLst>
    <a:custClr name="tesa Blue">
      <a:srgbClr val="009FDF"/>
    </a:custClr>
    <a:custClr name="tesa Red">
      <a:srgbClr val="E3000F"/>
    </a:custClr>
    <a:custClr name="tesa Dark Blue">
      <a:srgbClr val="01377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Additional Gray 1">
      <a:srgbClr val="5E5E5E"/>
    </a:custClr>
    <a:custClr name="Additional Gray 2">
      <a:srgbClr val="8F8F8F"/>
    </a:custClr>
    <a:custClr name="Additional Gray 3">
      <a:srgbClr val="B8B8B8"/>
    </a:custClr>
    <a:custClr name="Additional Gray 4">
      <a:srgbClr val="DADADA"/>
    </a:custClr>
    <a:custClr>
      <a:srgbClr val="FFFFFF"/>
    </a:custClr>
    <a:custClr>
      <a:srgbClr val="FFFFFF"/>
    </a:custClr>
    <a:custClr>
      <a:srgbClr val="FFFFFF"/>
    </a:custClr>
    <a:custClr>
      <a:srgbClr val="FFFFFF"/>
    </a:custClr>
    <a:custClr>
      <a:srgbClr val="FFFFFF"/>
    </a:custClr>
    <a:custClr>
      <a:srgbClr val="FFFFFF"/>
    </a:custClr>
    <a:custClr name="Additional Blue 1">
      <a:srgbClr val="42647B"/>
    </a:custClr>
    <a:custClr name="Additional Blue 2">
      <a:srgbClr val="87B4D8"/>
    </a:custClr>
    <a:custClr name="Additional Blue 3">
      <a:srgbClr val="B2CDE6"/>
    </a:custClr>
    <a:custClr name="Additional Blue 4">
      <a:srgbClr val="DFF2FD"/>
    </a:custClr>
    <a:custClr>
      <a:srgbClr val="FFFFFF"/>
    </a:custClr>
    <a:custClr>
      <a:srgbClr val="FFFFFF"/>
    </a:custClr>
    <a:custClr>
      <a:srgbClr val="FFFFFF"/>
    </a:custClr>
    <a:custClr>
      <a:srgbClr val="FFFFFF"/>
    </a:custClr>
    <a:custClr>
      <a:srgbClr val="FFFFFF"/>
    </a:custClr>
    <a:custClr>
      <a:srgbClr val="FFFFFF"/>
    </a:custClr>
    <a:custClr name="Dark Red">
      <a:srgbClr val="96000A"/>
    </a:custClr>
    <a:custClr name="Green">
      <a:srgbClr val="64A33C"/>
    </a:custClr>
    <a:custClr name="Yellow">
      <a:srgbClr val="FFD733"/>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tesa_Master_2023.pptx" id="{040CBB0B-E091-4C89-AA15-5DA859F6ADE1}" vid="{A064882C-0D85-4411-9C12-B28E4920CED3}"/>
    </a:ext>
  </a:extLst>
</a:theme>
</file>

<file path=ppt/theme/theme2.xml><?xml version="1.0" encoding="utf-8"?>
<a:theme xmlns:a="http://schemas.openxmlformats.org/drawingml/2006/main" name="Larissa">
  <a:themeElements>
    <a:clrScheme name="tesa">
      <a:dk1>
        <a:srgbClr val="373737"/>
      </a:dk1>
      <a:lt1>
        <a:sysClr val="window" lastClr="FFFFFF"/>
      </a:lt1>
      <a:dk2>
        <a:srgbClr val="373737"/>
      </a:dk2>
      <a:lt2>
        <a:srgbClr val="DADADA"/>
      </a:lt2>
      <a:accent1>
        <a:srgbClr val="0F377F"/>
      </a:accent1>
      <a:accent2>
        <a:srgbClr val="B2CDE6"/>
      </a:accent2>
      <a:accent3>
        <a:srgbClr val="87B4D8"/>
      </a:accent3>
      <a:accent4>
        <a:srgbClr val="DFF2FD"/>
      </a:accent4>
      <a:accent5>
        <a:srgbClr val="009FDF"/>
      </a:accent5>
      <a:accent6>
        <a:srgbClr val="E3000F"/>
      </a:accent6>
      <a:hlink>
        <a:srgbClr val="009FDF"/>
      </a:hlink>
      <a:folHlink>
        <a:srgbClr val="E3000F"/>
      </a:folHlink>
    </a:clrScheme>
    <a:fontScheme name="tesa">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tesa">
      <a:dk1>
        <a:srgbClr val="373737"/>
      </a:dk1>
      <a:lt1>
        <a:sysClr val="window" lastClr="FFFFFF"/>
      </a:lt1>
      <a:dk2>
        <a:srgbClr val="373737"/>
      </a:dk2>
      <a:lt2>
        <a:srgbClr val="DADADA"/>
      </a:lt2>
      <a:accent1>
        <a:srgbClr val="0F377F"/>
      </a:accent1>
      <a:accent2>
        <a:srgbClr val="B2CDE6"/>
      </a:accent2>
      <a:accent3>
        <a:srgbClr val="87B4D8"/>
      </a:accent3>
      <a:accent4>
        <a:srgbClr val="DFF2FD"/>
      </a:accent4>
      <a:accent5>
        <a:srgbClr val="009FDF"/>
      </a:accent5>
      <a:accent6>
        <a:srgbClr val="E3000F"/>
      </a:accent6>
      <a:hlink>
        <a:srgbClr val="009FDF"/>
      </a:hlink>
      <a:folHlink>
        <a:srgbClr val="E3000F"/>
      </a:folHlink>
    </a:clrScheme>
    <a:fontScheme name="tesa">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e6759819-f911-4466-a17f-d69c8d4ce877" xsi:nil="true"/>
    <lcf76f155ced4ddcb4097134ff3c332f xmlns="abf64726-9574-4459-b685-4e6164e9b89e">
      <Terms xmlns="http://schemas.microsoft.com/office/infopath/2007/PartnerControls"/>
    </lcf76f155ced4ddcb4097134ff3c332f>
    <Year xmlns="abf64726-9574-4459-b685-4e6164e9b89e" xsi:nil="true"/>
    <Document_x0020_typee xmlns="abf64726-9574-4459-b685-4e6164e9b89e" xsi:nil="true"/>
    <Tag xmlns="abf64726-9574-4459-b685-4e6164e9b89e" xsi:nil="true"/>
    <Thumbnail xmlns="abf64726-9574-4459-b685-4e6164e9b89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571072ACD4BCC4CA0F8FFE331255C60" ma:contentTypeVersion="27" ma:contentTypeDescription="Create a new document." ma:contentTypeScope="" ma:versionID="35c63e0a0be9f381e625f9cd7b750aad">
  <xsd:schema xmlns:xsd="http://www.w3.org/2001/XMLSchema" xmlns:xs="http://www.w3.org/2001/XMLSchema" xmlns:p="http://schemas.microsoft.com/office/2006/metadata/properties" xmlns:ns2="e6759819-f911-4466-a17f-d69c8d4ce877" xmlns:ns3="abf64726-9574-4459-b685-4e6164e9b89e" targetNamespace="http://schemas.microsoft.com/office/2006/metadata/properties" ma:root="true" ma:fieldsID="82faa0828a6d309498b1cff7d0c97f9e" ns2:_="" ns3:_="">
    <xsd:import namespace="e6759819-f911-4466-a17f-d69c8d4ce877"/>
    <xsd:import namespace="abf64726-9574-4459-b685-4e6164e9b89e"/>
    <xsd:element name="properties">
      <xsd:complexType>
        <xsd:sequence>
          <xsd:element name="documentManagement">
            <xsd:complexType>
              <xsd:all>
                <xsd:element ref="ns2:TaxCatchAll"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3:Document_x0020_typee" minOccurs="0"/>
                <xsd:element ref="ns3:Tag" minOccurs="0"/>
                <xsd:element ref="ns2:SharedWithUsers" minOccurs="0"/>
                <xsd:element ref="ns2:SharedWithDetails" minOccurs="0"/>
                <xsd:element ref="ns3:MediaLengthInSeconds" minOccurs="0"/>
                <xsd:element ref="ns3:Thumbnail" minOccurs="0"/>
                <xsd:element ref="ns3:Year" minOccurs="0"/>
                <xsd:element ref="ns3:lcf76f155ced4ddcb4097134ff3c332f" minOccurs="0"/>
                <xsd:element ref="ns3:MediaServiceLoca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759819-f911-4466-a17f-d69c8d4ce877" elementFormDefault="qualified">
    <xsd:import namespace="http://schemas.microsoft.com/office/2006/documentManagement/types"/>
    <xsd:import namespace="http://schemas.microsoft.com/office/infopath/2007/PartnerControls"/>
    <xsd:element name="TaxCatchAll" ma:index="4" nillable="true" ma:displayName="Taxonomy Catch All Column" ma:hidden="true" ma:list="{59352219-6375-4bb3-ad35-de287b977f5c}" ma:internalName="TaxCatchAll" ma:showField="CatchAllData" ma:web="e6759819-f911-4466-a17f-d69c8d4ce877">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bf64726-9574-4459-b685-4e6164e9b89e"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element name="MediaServiceDateTaken" ma:index="7" nillable="true" ma:displayName="MediaServiceDateTaken" ma:hidden="true" ma:internalName="MediaServiceDateTaken" ma:readOnly="true">
      <xsd:simpleType>
        <xsd:restriction base="dms:Text"/>
      </xsd:simpleType>
    </xsd:element>
    <xsd:element name="MediaServiceAutoTags" ma:index="8" nillable="true" ma:displayName="Tags 1" ma:description="" ma:internalName="MediaServiceAutoTags" ma:readOnly="true">
      <xsd:simpleType>
        <xsd:restriction base="dms:Text"/>
      </xsd:simpleType>
    </xsd:element>
    <xsd:element name="MediaServiceGenerationTime" ma:index="9" nillable="true" ma:displayName="MediaServiceGenerationTime" ma:hidden="true" ma:internalName="MediaServiceGenerationTime" ma:readOnly="true">
      <xsd:simpleType>
        <xsd:restriction base="dms:Text"/>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OCR" ma:index="13" nillable="true" ma:displayName="Extracted Text" ma:internalName="MediaServiceOCR" ma:readOnly="true">
      <xsd:simpleType>
        <xsd:restriction base="dms:Note">
          <xsd:maxLength value="255"/>
        </xsd:restriction>
      </xsd:simpleType>
    </xsd:element>
    <xsd:element name="Document_x0020_typee" ma:index="18" nillable="true" ma:displayName="Document type" ma:format="Dropdown" ma:internalName="Document_x0020_typee">
      <xsd:complexType>
        <xsd:complexContent>
          <xsd:extension base="dms:MultiChoice">
            <xsd:sequence>
              <xsd:element name="Value" maxOccurs="unbounded" minOccurs="0" nillable="true">
                <xsd:simpleType>
                  <xsd:restriction base="dms:Choice">
                    <xsd:enumeration value="Guideline"/>
                    <xsd:enumeration value="Overview"/>
                    <xsd:enumeration value="Planning"/>
                    <xsd:enumeration value="Template"/>
                    <xsd:enumeration value="Best Practice"/>
                    <xsd:enumeration value="Marketing Material"/>
                    <xsd:enumeration value="Customer presentation"/>
                    <xsd:enumeration value="Launch/Market Package"/>
                    <xsd:enumeration value="Certificate/Technical Data"/>
                    <xsd:enumeration value="Training material"/>
                    <xsd:enumeration value="Working file"/>
                    <xsd:enumeration value="Web/Teams link"/>
                    <xsd:enumeration value="Other"/>
                    <xsd:enumeration value="Folder"/>
                    <xsd:enumeration value="Offer"/>
                    <xsd:enumeration value="Appliances"/>
                    <xsd:enumeration value="Auswahl 17"/>
                  </xsd:restriction>
                </xsd:simpleType>
              </xsd:element>
            </xsd:sequence>
          </xsd:extension>
        </xsd:complexContent>
      </xsd:complexType>
    </xsd:element>
    <xsd:element name="Tag" ma:index="19" nillable="true" ma:displayName="Tags" ma:format="Dropdown" ma:internalName="Tag">
      <xsd:complexType>
        <xsd:complexContent>
          <xsd:extension base="dms:MultiChoiceFillIn">
            <xsd:sequence>
              <xsd:element name="Value" maxOccurs="unbounded" minOccurs="0" nillable="true">
                <xsd:simpleType>
                  <xsd:union memberTypes="dms:Text">
                    <xsd:simpleType>
                      <xsd:restriction base="dms:Choice">
                        <xsd:enumeration value="Converters"/>
                        <xsd:enumeration value="Sustainability"/>
                        <xsd:enumeration value="BSR"/>
                        <xsd:enumeration value="FR"/>
                        <xsd:enumeration value="ECT"/>
                        <xsd:enumeration value="TCT"/>
                        <xsd:enumeration value="HAF"/>
                        <xsd:enumeration value="ID"/>
                        <xsd:enumeration value="Automotive"/>
                        <xsd:enumeration value="Health"/>
                        <xsd:enumeration value="Electronics"/>
                      </xsd:restriction>
                    </xsd:simpleType>
                  </xsd:union>
                </xsd:simpleType>
              </xsd:element>
            </xsd:sequence>
          </xsd:extension>
        </xsd:complexContent>
      </xsd:complexType>
    </xsd:element>
    <xsd:element name="MediaLengthInSeconds" ma:index="22" nillable="true" ma:displayName="Length (seconds)" ma:internalName="MediaLengthInSeconds" ma:readOnly="true">
      <xsd:simpleType>
        <xsd:restriction base="dms:Unknown"/>
      </xsd:simpleType>
    </xsd:element>
    <xsd:element name="Thumbnail" ma:index="23" nillable="true" ma:displayName="Thumbnail" ma:format="Thumbnail" ma:internalName="Thumbnail">
      <xsd:simpleType>
        <xsd:restriction base="dms:Unknown"/>
      </xsd:simpleType>
    </xsd:element>
    <xsd:element name="Year" ma:index="24" nillable="true" ma:displayName="Year" ma:format="Dropdown" ma:internalName="Year">
      <xsd:simpleType>
        <xsd:restriction base="dms:Choice">
          <xsd:enumeration value="2023"/>
          <xsd:enumeration value="2022"/>
          <xsd:enumeration value="2021"/>
          <xsd:enumeration value="2020"/>
          <xsd:enumeration value="2019"/>
          <xsd:enumeration value="2018"/>
          <xsd:enumeration value="2017"/>
          <xsd:enumeration value="2016"/>
          <xsd:enumeration value="201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3d4df0dc-44d8-47fe-b539-696e2d2c1eb6" ma:termSetId="09814cd3-568e-fe90-9814-8d621ff8fb84" ma:anchorId="fba54fb3-c3e1-fe81-a776-ca4b69148c4d" ma:open="true" ma:isKeyword="false">
      <xsd:complexType>
        <xsd:sequence>
          <xsd:element ref="pc:Terms" minOccurs="0" maxOccurs="1"/>
        </xsd:sequence>
      </xsd:complexType>
    </xsd:element>
    <xsd:element name="MediaServiceLocation" ma:index="27" nillable="true" ma:displayName="Location" ma:internalName="MediaServiceLocation" ma:readOnly="true">
      <xsd:simpleType>
        <xsd:restriction base="dms:Text"/>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E58A6D-8A70-4E41-8234-DBF2BC9404DD}">
  <ds:schemaRefs>
    <ds:schemaRef ds:uri="http://schemas.microsoft.com/sharepoint/v3/contenttype/forms"/>
  </ds:schemaRefs>
</ds:datastoreItem>
</file>

<file path=customXml/itemProps2.xml><?xml version="1.0" encoding="utf-8"?>
<ds:datastoreItem xmlns:ds="http://schemas.openxmlformats.org/officeDocument/2006/customXml" ds:itemID="{9E1F4E36-B93E-4AEF-95B8-8D9327554D59}">
  <ds:schemaRefs>
    <ds:schemaRef ds:uri="7210d724-798f-4f14-8efa-6190626d83d5"/>
    <ds:schemaRef ds:uri="d8bd49df-18a9-4de1-8c5b-2ba9944d82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6759819-f911-4466-a17f-d69c8d4ce877"/>
    <ds:schemaRef ds:uri="abf64726-9574-4459-b685-4e6164e9b89e"/>
  </ds:schemaRefs>
</ds:datastoreItem>
</file>

<file path=customXml/itemProps3.xml><?xml version="1.0" encoding="utf-8"?>
<ds:datastoreItem xmlns:ds="http://schemas.openxmlformats.org/officeDocument/2006/customXml" ds:itemID="{E6116AE0-C905-4228-B417-C0E61813E5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759819-f911-4466-a17f-d69c8d4ce877"/>
    <ds:schemaRef ds:uri="abf64726-9574-4459-b685-4e6164e9b8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17</TotalTime>
  <Words>825</Words>
  <Application>Microsoft Macintosh PowerPoint</Application>
  <PresentationFormat>Brugerdefineret</PresentationFormat>
  <Paragraphs>53</Paragraphs>
  <Slides>8</Slides>
  <Notes>0</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8</vt:i4>
      </vt:variant>
    </vt:vector>
  </HeadingPairs>
  <TitlesOfParts>
    <vt:vector size="15" baseType="lpstr">
      <vt:lpstr>Arial</vt:lpstr>
      <vt:lpstr>Arial Narrow</vt:lpstr>
      <vt:lpstr>Calibri</vt:lpstr>
      <vt:lpstr>Times New Roman</vt:lpstr>
      <vt:lpstr>Wingdings</vt:lpstr>
      <vt:lpstr>Template_tesa_16x9</vt:lpstr>
      <vt:lpstr>think-cell Folie</vt:lpstr>
      <vt:lpstr>PowerPoint-præsentation</vt:lpstr>
      <vt:lpstr>PowerPoint-præsentation</vt:lpstr>
      <vt:lpstr>PowerPoint-præsentation</vt:lpstr>
      <vt:lpstr>tesa® 4965 Original Next Gen  vs tesa® 4965 Original   Aceeași bandă. Aceeași performanță fiabilă.</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ahne, Wiebke /tesa SE HAM</dc:creator>
  <cp:lastModifiedBy>Microsoft Office User</cp:lastModifiedBy>
  <cp:revision>31</cp:revision>
  <dcterms:created xsi:type="dcterms:W3CDTF">2023-05-03T09:17:24Z</dcterms:created>
  <dcterms:modified xsi:type="dcterms:W3CDTF">2024-02-06T14:1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71072ACD4BCC4CA0F8FFE331255C60</vt:lpwstr>
  </property>
  <property fmtid="{D5CDD505-2E9C-101B-9397-08002B2CF9AE}" pid="3" name="MediaServiceImageTags">
    <vt:lpwstr/>
  </property>
</Properties>
</file>